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5"/>
  </p:notesMasterIdLst>
  <p:handoutMasterIdLst>
    <p:handoutMasterId r:id="rId16"/>
  </p:handoutMasterIdLst>
  <p:sldIdLst>
    <p:sldId id="2147482415" r:id="rId5"/>
    <p:sldId id="2147482681" r:id="rId6"/>
    <p:sldId id="2147482676" r:id="rId7"/>
    <p:sldId id="2147482683" r:id="rId8"/>
    <p:sldId id="2147482684" r:id="rId9"/>
    <p:sldId id="2147482685" r:id="rId10"/>
    <p:sldId id="2147482686" r:id="rId11"/>
    <p:sldId id="2147482688" r:id="rId12"/>
    <p:sldId id="2147482689" r:id="rId13"/>
    <p:sldId id="2147482682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EFDD"/>
    <a:srgbClr val="F50537"/>
    <a:srgbClr val="BF0A2D"/>
    <a:srgbClr val="808000"/>
    <a:srgbClr val="333300"/>
    <a:srgbClr val="FFFF00"/>
    <a:srgbClr val="086D07"/>
    <a:srgbClr val="CE9C11"/>
    <a:srgbClr val="333333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39" autoAdjust="0"/>
    <p:restoredTop sz="94660"/>
  </p:normalViewPr>
  <p:slideViewPr>
    <p:cSldViewPr snapToGrid="0">
      <p:cViewPr varScale="1">
        <p:scale>
          <a:sx n="78" d="100"/>
          <a:sy n="78" d="100"/>
        </p:scale>
        <p:origin x="859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  <a:t>15.10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1401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  <a:t>15.10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lvl="0" indent="-18000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/>
              <a:t>Textmasterformat bearbeiten</a:t>
            </a:r>
          </a:p>
          <a:p>
            <a:pPr marL="360000" lvl="1" indent="-18000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/>
              <a:t>Zweite Ebene</a:t>
            </a:r>
          </a:p>
          <a:p>
            <a:pPr marL="540000" lvl="2" indent="-18000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/>
              <a:t>Dritte Ebene</a:t>
            </a:r>
          </a:p>
          <a:p>
            <a:pPr marL="720000" lvl="3" indent="-18000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/>
              <a:t>Vierte Ebene</a:t>
            </a:r>
          </a:p>
          <a:p>
            <a:pPr marL="900000" lvl="4" indent="-180000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29250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5943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1 (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4468478"/>
            <a:ext cx="11341100" cy="251767"/>
          </a:xfrm>
        </p:spPr>
        <p:txBody>
          <a:bodyPr anchor="t"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Ort | Datum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286245"/>
            <a:ext cx="11341099" cy="734426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 der Präsentation</a:t>
            </a:r>
            <a:br>
              <a:rPr lang="de-DE" noProof="0"/>
            </a:br>
            <a:r>
              <a:rPr lang="de-DE" noProof="0"/>
              <a:t>(maximal zwei-zeilig)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522E2AA9-DCCF-3F4D-A50F-F5121B6018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19433" y="2347570"/>
            <a:ext cx="1960658" cy="680464"/>
          </a:xfrm>
          <a:custGeom>
            <a:avLst/>
            <a:gdLst>
              <a:gd name="T0" fmla="*/ 2147483647 w 3769"/>
              <a:gd name="T1" fmla="*/ 2147483647 h 1303"/>
              <a:gd name="T2" fmla="*/ 2147483647 w 3769"/>
              <a:gd name="T3" fmla="*/ 2147483647 h 1303"/>
              <a:gd name="T4" fmla="*/ 2147483647 w 3769"/>
              <a:gd name="T5" fmla="*/ 2147483647 h 1303"/>
              <a:gd name="T6" fmla="*/ 2147483647 w 3769"/>
              <a:gd name="T7" fmla="*/ 2147483647 h 1303"/>
              <a:gd name="T8" fmla="*/ 2147483647 w 3769"/>
              <a:gd name="T9" fmla="*/ 2147483647 h 1303"/>
              <a:gd name="T10" fmla="*/ 2147483647 w 3769"/>
              <a:gd name="T11" fmla="*/ 2147483647 h 1303"/>
              <a:gd name="T12" fmla="*/ 2147483647 w 3769"/>
              <a:gd name="T13" fmla="*/ 2147483647 h 1303"/>
              <a:gd name="T14" fmla="*/ 2147483647 w 3769"/>
              <a:gd name="T15" fmla="*/ 2147483647 h 1303"/>
              <a:gd name="T16" fmla="*/ 2147483647 w 3769"/>
              <a:gd name="T17" fmla="*/ 2147483647 h 1303"/>
              <a:gd name="T18" fmla="*/ 2147483647 w 3769"/>
              <a:gd name="T19" fmla="*/ 2147483647 h 1303"/>
              <a:gd name="T20" fmla="*/ 2147483647 w 3769"/>
              <a:gd name="T21" fmla="*/ 2147483647 h 1303"/>
              <a:gd name="T22" fmla="*/ 2147483647 w 3769"/>
              <a:gd name="T23" fmla="*/ 2147483647 h 1303"/>
              <a:gd name="T24" fmla="*/ 2147483647 w 3769"/>
              <a:gd name="T25" fmla="*/ 2147483647 h 1303"/>
              <a:gd name="T26" fmla="*/ 2147483647 w 3769"/>
              <a:gd name="T27" fmla="*/ 2147483647 h 1303"/>
              <a:gd name="T28" fmla="*/ 2147483647 w 3769"/>
              <a:gd name="T29" fmla="*/ 2147483647 h 1303"/>
              <a:gd name="T30" fmla="*/ 2147483647 w 3769"/>
              <a:gd name="T31" fmla="*/ 2147483647 h 1303"/>
              <a:gd name="T32" fmla="*/ 2147483647 w 3769"/>
              <a:gd name="T33" fmla="*/ 2147483647 h 1303"/>
              <a:gd name="T34" fmla="*/ 2147483647 w 3769"/>
              <a:gd name="T35" fmla="*/ 2147483647 h 1303"/>
              <a:gd name="T36" fmla="*/ 2147483647 w 3769"/>
              <a:gd name="T37" fmla="*/ 2147483647 h 1303"/>
              <a:gd name="T38" fmla="*/ 2147483647 w 3769"/>
              <a:gd name="T39" fmla="*/ 2147483647 h 1303"/>
              <a:gd name="T40" fmla="*/ 2147483647 w 3769"/>
              <a:gd name="T41" fmla="*/ 2147483647 h 1303"/>
              <a:gd name="T42" fmla="*/ 2147483647 w 3769"/>
              <a:gd name="T43" fmla="*/ 2147483647 h 1303"/>
              <a:gd name="T44" fmla="*/ 2147483647 w 3769"/>
              <a:gd name="T45" fmla="*/ 2147483647 h 1303"/>
              <a:gd name="T46" fmla="*/ 2147483647 w 3769"/>
              <a:gd name="T47" fmla="*/ 2147483647 h 1303"/>
              <a:gd name="T48" fmla="*/ 2147483647 w 3769"/>
              <a:gd name="T49" fmla="*/ 2147483647 h 1303"/>
              <a:gd name="T50" fmla="*/ 2147483647 w 3769"/>
              <a:gd name="T51" fmla="*/ 2147483647 h 1303"/>
              <a:gd name="T52" fmla="*/ 2147483647 w 3769"/>
              <a:gd name="T53" fmla="*/ 2147483647 h 1303"/>
              <a:gd name="T54" fmla="*/ 2147483647 w 3769"/>
              <a:gd name="T55" fmla="*/ 2147483647 h 1303"/>
              <a:gd name="T56" fmla="*/ 2147483647 w 3769"/>
              <a:gd name="T57" fmla="*/ 2147483647 h 1303"/>
              <a:gd name="T58" fmla="*/ 2147483647 w 3769"/>
              <a:gd name="T59" fmla="*/ 2147483647 h 1303"/>
              <a:gd name="T60" fmla="*/ 2147483647 w 3769"/>
              <a:gd name="T61" fmla="*/ 0 h 1303"/>
              <a:gd name="T62" fmla="*/ 2147483647 w 3769"/>
              <a:gd name="T63" fmla="*/ 2147483647 h 1303"/>
              <a:gd name="T64" fmla="*/ 2147483647 w 3769"/>
              <a:gd name="T65" fmla="*/ 2147483647 h 1303"/>
              <a:gd name="T66" fmla="*/ 2147483647 w 3769"/>
              <a:gd name="T67" fmla="*/ 2147483647 h 1303"/>
              <a:gd name="T68" fmla="*/ 0 w 3769"/>
              <a:gd name="T69" fmla="*/ 2147483647 h 1303"/>
              <a:gd name="T70" fmla="*/ 2147483647 w 3769"/>
              <a:gd name="T71" fmla="*/ 2147483647 h 1303"/>
              <a:gd name="T72" fmla="*/ 2147483647 w 3769"/>
              <a:gd name="T73" fmla="*/ 2147483647 h 1303"/>
              <a:gd name="T74" fmla="*/ 2147483647 w 3769"/>
              <a:gd name="T75" fmla="*/ 2147483647 h 1303"/>
              <a:gd name="T76" fmla="*/ 2147483647 w 3769"/>
              <a:gd name="T77" fmla="*/ 2147483647 h 130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3769" h="1303">
                <a:moveTo>
                  <a:pt x="3117" y="1156"/>
                </a:moveTo>
                <a:lnTo>
                  <a:pt x="3117" y="1156"/>
                </a:lnTo>
                <a:cubicBezTo>
                  <a:pt x="3002" y="1156"/>
                  <a:pt x="2895" y="1117"/>
                  <a:pt x="2810" y="1052"/>
                </a:cubicBezTo>
                <a:cubicBezTo>
                  <a:pt x="2896" y="941"/>
                  <a:pt x="2948" y="802"/>
                  <a:pt x="2948" y="651"/>
                </a:cubicBezTo>
                <a:cubicBezTo>
                  <a:pt x="2948" y="500"/>
                  <a:pt x="2896" y="361"/>
                  <a:pt x="2810" y="251"/>
                </a:cubicBezTo>
                <a:cubicBezTo>
                  <a:pt x="2895" y="186"/>
                  <a:pt x="3002" y="147"/>
                  <a:pt x="3117" y="147"/>
                </a:cubicBezTo>
                <a:cubicBezTo>
                  <a:pt x="3396" y="147"/>
                  <a:pt x="3622" y="373"/>
                  <a:pt x="3622" y="651"/>
                </a:cubicBezTo>
                <a:cubicBezTo>
                  <a:pt x="3622" y="930"/>
                  <a:pt x="3396" y="1156"/>
                  <a:pt x="3117" y="1156"/>
                </a:cubicBezTo>
                <a:close/>
                <a:moveTo>
                  <a:pt x="1989" y="1052"/>
                </a:moveTo>
                <a:lnTo>
                  <a:pt x="1989" y="1052"/>
                </a:lnTo>
                <a:cubicBezTo>
                  <a:pt x="2075" y="941"/>
                  <a:pt x="2126" y="802"/>
                  <a:pt x="2126" y="651"/>
                </a:cubicBezTo>
                <a:cubicBezTo>
                  <a:pt x="2126" y="500"/>
                  <a:pt x="2075" y="361"/>
                  <a:pt x="1989" y="251"/>
                </a:cubicBezTo>
                <a:cubicBezTo>
                  <a:pt x="2074" y="186"/>
                  <a:pt x="2180" y="147"/>
                  <a:pt x="2296" y="147"/>
                </a:cubicBezTo>
                <a:cubicBezTo>
                  <a:pt x="2411" y="147"/>
                  <a:pt x="2518" y="186"/>
                  <a:pt x="2603" y="251"/>
                </a:cubicBezTo>
                <a:cubicBezTo>
                  <a:pt x="2517" y="362"/>
                  <a:pt x="2465" y="500"/>
                  <a:pt x="2465" y="651"/>
                </a:cubicBezTo>
                <a:cubicBezTo>
                  <a:pt x="2465" y="802"/>
                  <a:pt x="2517" y="941"/>
                  <a:pt x="2603" y="1052"/>
                </a:cubicBezTo>
                <a:cubicBezTo>
                  <a:pt x="2518" y="1117"/>
                  <a:pt x="2411" y="1156"/>
                  <a:pt x="2296" y="1156"/>
                </a:cubicBezTo>
                <a:cubicBezTo>
                  <a:pt x="2180" y="1156"/>
                  <a:pt x="2074" y="1117"/>
                  <a:pt x="1989" y="1052"/>
                </a:cubicBezTo>
                <a:close/>
                <a:moveTo>
                  <a:pt x="1167" y="1052"/>
                </a:moveTo>
                <a:lnTo>
                  <a:pt x="1167" y="1052"/>
                </a:lnTo>
                <a:cubicBezTo>
                  <a:pt x="1253" y="941"/>
                  <a:pt x="1305" y="802"/>
                  <a:pt x="1305" y="651"/>
                </a:cubicBezTo>
                <a:cubicBezTo>
                  <a:pt x="1305" y="500"/>
                  <a:pt x="1253" y="361"/>
                  <a:pt x="1167" y="251"/>
                </a:cubicBezTo>
                <a:cubicBezTo>
                  <a:pt x="1252" y="186"/>
                  <a:pt x="1359" y="147"/>
                  <a:pt x="1474" y="147"/>
                </a:cubicBezTo>
                <a:cubicBezTo>
                  <a:pt x="1590" y="147"/>
                  <a:pt x="1696" y="186"/>
                  <a:pt x="1781" y="251"/>
                </a:cubicBezTo>
                <a:cubicBezTo>
                  <a:pt x="1695" y="361"/>
                  <a:pt x="1644" y="500"/>
                  <a:pt x="1644" y="651"/>
                </a:cubicBezTo>
                <a:cubicBezTo>
                  <a:pt x="1644" y="802"/>
                  <a:pt x="1695" y="941"/>
                  <a:pt x="1781" y="1052"/>
                </a:cubicBezTo>
                <a:cubicBezTo>
                  <a:pt x="1696" y="1117"/>
                  <a:pt x="1590" y="1156"/>
                  <a:pt x="1474" y="1156"/>
                </a:cubicBezTo>
                <a:cubicBezTo>
                  <a:pt x="1359" y="1156"/>
                  <a:pt x="1252" y="1117"/>
                  <a:pt x="1167" y="1052"/>
                </a:cubicBezTo>
                <a:close/>
                <a:moveTo>
                  <a:pt x="148" y="651"/>
                </a:moveTo>
                <a:lnTo>
                  <a:pt x="148" y="651"/>
                </a:lnTo>
                <a:cubicBezTo>
                  <a:pt x="148" y="373"/>
                  <a:pt x="374" y="147"/>
                  <a:pt x="653" y="147"/>
                </a:cubicBezTo>
                <a:cubicBezTo>
                  <a:pt x="768" y="147"/>
                  <a:pt x="875" y="186"/>
                  <a:pt x="960" y="251"/>
                </a:cubicBezTo>
                <a:cubicBezTo>
                  <a:pt x="874" y="361"/>
                  <a:pt x="822" y="500"/>
                  <a:pt x="822" y="651"/>
                </a:cubicBezTo>
                <a:cubicBezTo>
                  <a:pt x="822" y="802"/>
                  <a:pt x="874" y="941"/>
                  <a:pt x="960" y="1052"/>
                </a:cubicBezTo>
                <a:cubicBezTo>
                  <a:pt x="875" y="1117"/>
                  <a:pt x="768" y="1156"/>
                  <a:pt x="653" y="1156"/>
                </a:cubicBezTo>
                <a:cubicBezTo>
                  <a:pt x="374" y="1156"/>
                  <a:pt x="148" y="930"/>
                  <a:pt x="148" y="651"/>
                </a:cubicBezTo>
                <a:close/>
                <a:moveTo>
                  <a:pt x="1063" y="944"/>
                </a:moveTo>
                <a:lnTo>
                  <a:pt x="1063" y="944"/>
                </a:lnTo>
                <a:cubicBezTo>
                  <a:pt x="1004" y="862"/>
                  <a:pt x="969" y="761"/>
                  <a:pt x="969" y="651"/>
                </a:cubicBezTo>
                <a:cubicBezTo>
                  <a:pt x="969" y="542"/>
                  <a:pt x="1004" y="441"/>
                  <a:pt x="1063" y="358"/>
                </a:cubicBezTo>
                <a:cubicBezTo>
                  <a:pt x="1122" y="441"/>
                  <a:pt x="1157" y="542"/>
                  <a:pt x="1157" y="651"/>
                </a:cubicBezTo>
                <a:cubicBezTo>
                  <a:pt x="1157" y="761"/>
                  <a:pt x="1122" y="862"/>
                  <a:pt x="1063" y="944"/>
                </a:cubicBezTo>
                <a:close/>
                <a:moveTo>
                  <a:pt x="1885" y="944"/>
                </a:moveTo>
                <a:lnTo>
                  <a:pt x="1885" y="944"/>
                </a:lnTo>
                <a:cubicBezTo>
                  <a:pt x="1826" y="862"/>
                  <a:pt x="1791" y="761"/>
                  <a:pt x="1791" y="651"/>
                </a:cubicBezTo>
                <a:cubicBezTo>
                  <a:pt x="1791" y="542"/>
                  <a:pt x="1826" y="441"/>
                  <a:pt x="1885" y="358"/>
                </a:cubicBezTo>
                <a:cubicBezTo>
                  <a:pt x="1944" y="441"/>
                  <a:pt x="1979" y="542"/>
                  <a:pt x="1979" y="651"/>
                </a:cubicBezTo>
                <a:cubicBezTo>
                  <a:pt x="1979" y="761"/>
                  <a:pt x="1944" y="862"/>
                  <a:pt x="1885" y="944"/>
                </a:cubicBezTo>
                <a:close/>
                <a:moveTo>
                  <a:pt x="2707" y="944"/>
                </a:moveTo>
                <a:lnTo>
                  <a:pt x="2707" y="944"/>
                </a:lnTo>
                <a:cubicBezTo>
                  <a:pt x="2648" y="862"/>
                  <a:pt x="2613" y="761"/>
                  <a:pt x="2613" y="651"/>
                </a:cubicBezTo>
                <a:cubicBezTo>
                  <a:pt x="2613" y="542"/>
                  <a:pt x="2648" y="441"/>
                  <a:pt x="2707" y="358"/>
                </a:cubicBezTo>
                <a:cubicBezTo>
                  <a:pt x="2766" y="441"/>
                  <a:pt x="2800" y="542"/>
                  <a:pt x="2800" y="651"/>
                </a:cubicBezTo>
                <a:cubicBezTo>
                  <a:pt x="2800" y="761"/>
                  <a:pt x="2766" y="862"/>
                  <a:pt x="2707" y="944"/>
                </a:cubicBezTo>
                <a:close/>
                <a:moveTo>
                  <a:pt x="3117" y="0"/>
                </a:moveTo>
                <a:lnTo>
                  <a:pt x="3117" y="0"/>
                </a:lnTo>
                <a:cubicBezTo>
                  <a:pt x="2962" y="0"/>
                  <a:pt x="2819" y="54"/>
                  <a:pt x="2707" y="145"/>
                </a:cubicBezTo>
                <a:cubicBezTo>
                  <a:pt x="2594" y="54"/>
                  <a:pt x="2452" y="0"/>
                  <a:pt x="2296" y="0"/>
                </a:cubicBezTo>
                <a:cubicBezTo>
                  <a:pt x="2140" y="0"/>
                  <a:pt x="1997" y="54"/>
                  <a:pt x="1885" y="145"/>
                </a:cubicBezTo>
                <a:cubicBezTo>
                  <a:pt x="1773" y="54"/>
                  <a:pt x="1630" y="0"/>
                  <a:pt x="1474" y="0"/>
                </a:cubicBezTo>
                <a:cubicBezTo>
                  <a:pt x="1318" y="0"/>
                  <a:pt x="1175" y="54"/>
                  <a:pt x="1063" y="145"/>
                </a:cubicBezTo>
                <a:cubicBezTo>
                  <a:pt x="951" y="54"/>
                  <a:pt x="808" y="0"/>
                  <a:pt x="653" y="0"/>
                </a:cubicBezTo>
                <a:cubicBezTo>
                  <a:pt x="292" y="0"/>
                  <a:pt x="0" y="291"/>
                  <a:pt x="0" y="651"/>
                </a:cubicBezTo>
                <a:cubicBezTo>
                  <a:pt x="0" y="1011"/>
                  <a:pt x="292" y="1303"/>
                  <a:pt x="653" y="1303"/>
                </a:cubicBezTo>
                <a:cubicBezTo>
                  <a:pt x="808" y="1303"/>
                  <a:pt x="951" y="1249"/>
                  <a:pt x="1063" y="1158"/>
                </a:cubicBezTo>
                <a:cubicBezTo>
                  <a:pt x="1175" y="1249"/>
                  <a:pt x="1318" y="1303"/>
                  <a:pt x="1474" y="1303"/>
                </a:cubicBezTo>
                <a:cubicBezTo>
                  <a:pt x="1630" y="1303"/>
                  <a:pt x="1773" y="1249"/>
                  <a:pt x="1885" y="1158"/>
                </a:cubicBezTo>
                <a:cubicBezTo>
                  <a:pt x="1997" y="1249"/>
                  <a:pt x="2140" y="1303"/>
                  <a:pt x="2296" y="1303"/>
                </a:cubicBezTo>
                <a:cubicBezTo>
                  <a:pt x="2452" y="1303"/>
                  <a:pt x="2594" y="1249"/>
                  <a:pt x="2707" y="1158"/>
                </a:cubicBezTo>
                <a:cubicBezTo>
                  <a:pt x="2819" y="1249"/>
                  <a:pt x="2962" y="1303"/>
                  <a:pt x="3117" y="1303"/>
                </a:cubicBezTo>
                <a:cubicBezTo>
                  <a:pt x="3478" y="1303"/>
                  <a:pt x="3769" y="1011"/>
                  <a:pt x="3769" y="651"/>
                </a:cubicBezTo>
                <a:cubicBezTo>
                  <a:pt x="3769" y="291"/>
                  <a:pt x="3478" y="0"/>
                  <a:pt x="3117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531462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325" y="300396"/>
            <a:ext cx="11341099" cy="537804"/>
          </a:xfrm>
        </p:spPr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95324" y="1089025"/>
            <a:ext cx="5646623" cy="278447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CB54E4B5-B339-8F49-8955-5BF1C0DCDC8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6389801" y="1089025"/>
            <a:ext cx="5646623" cy="278447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23" name="Bildplatzhalter 3">
            <a:extLst>
              <a:ext uri="{FF2B5EF4-FFF2-40B4-BE49-F238E27FC236}">
                <a16:creationId xmlns:a16="http://schemas.microsoft.com/office/drawing/2014/main" id="{B57FED0C-ED40-1145-B293-EFEC53400A9C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695324" y="3920837"/>
            <a:ext cx="5646623" cy="278447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24" name="Bildplatzhalter 3">
            <a:extLst>
              <a:ext uri="{FF2B5EF4-FFF2-40B4-BE49-F238E27FC236}">
                <a16:creationId xmlns:a16="http://schemas.microsoft.com/office/drawing/2014/main" id="{570F8897-7067-3245-948F-6FE3834C0053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6389801" y="3920837"/>
            <a:ext cx="5646623" cy="278447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8599540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6858000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</p:spTree>
    <p:extLst>
      <p:ext uri="{BB962C8B-B14F-4D97-AF65-F5344CB8AC3E}">
        <p14:creationId xmlns:p14="http://schemas.microsoft.com/office/powerpoint/2010/main" val="151424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A7CFDEC-8980-6043-A592-C01CD41CE2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2395" y="1076325"/>
            <a:ext cx="1265730" cy="806993"/>
          </a:xfrm>
          <a:ln w="9525">
            <a:noFill/>
          </a:ln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48" name="Textplatzhalter 21">
            <a:extLst>
              <a:ext uri="{FF2B5EF4-FFF2-40B4-BE49-F238E27FC236}">
                <a16:creationId xmlns:a16="http://schemas.microsoft.com/office/drawing/2014/main" id="{C4D9BC1A-3066-2546-8B16-33A1BD436F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18125" y="1235487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1</a:t>
            </a:r>
          </a:p>
        </p:txBody>
      </p:sp>
      <p:sp>
        <p:nvSpPr>
          <p:cNvPr id="49" name="Textplatzhalter 24">
            <a:extLst>
              <a:ext uri="{FF2B5EF4-FFF2-40B4-BE49-F238E27FC236}">
                <a16:creationId xmlns:a16="http://schemas.microsoft.com/office/drawing/2014/main" id="{C77C10C2-A3E5-B64A-BAA3-7E64CCEB97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18125" y="1521673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1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sp>
        <p:nvSpPr>
          <p:cNvPr id="34" name="Textplatzhalter 19">
            <a:extLst>
              <a:ext uri="{FF2B5EF4-FFF2-40B4-BE49-F238E27FC236}">
                <a16:creationId xmlns:a16="http://schemas.microsoft.com/office/drawing/2014/main" id="{196E225E-1A45-6740-BD6D-86EE610A89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52395" y="2121443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50" name="Textplatzhalter 21">
            <a:extLst>
              <a:ext uri="{FF2B5EF4-FFF2-40B4-BE49-F238E27FC236}">
                <a16:creationId xmlns:a16="http://schemas.microsoft.com/office/drawing/2014/main" id="{F45F6ACA-0CB2-0041-ABDC-0ACE07CF738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18125" y="2280605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2</a:t>
            </a:r>
          </a:p>
        </p:txBody>
      </p:sp>
      <p:sp>
        <p:nvSpPr>
          <p:cNvPr id="51" name="Textplatzhalter 24">
            <a:extLst>
              <a:ext uri="{FF2B5EF4-FFF2-40B4-BE49-F238E27FC236}">
                <a16:creationId xmlns:a16="http://schemas.microsoft.com/office/drawing/2014/main" id="{2F540847-7EF2-E644-97F9-67F7C36131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18125" y="2566791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2</a:t>
            </a:r>
          </a:p>
        </p:txBody>
      </p:sp>
      <p:sp>
        <p:nvSpPr>
          <p:cNvPr id="37" name="Textplatzhalter 19">
            <a:extLst>
              <a:ext uri="{FF2B5EF4-FFF2-40B4-BE49-F238E27FC236}">
                <a16:creationId xmlns:a16="http://schemas.microsoft.com/office/drawing/2014/main" id="{C582A761-5190-FA48-9223-7777578FB0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52395" y="3166561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52" name="Textplatzhalter 21">
            <a:extLst>
              <a:ext uri="{FF2B5EF4-FFF2-40B4-BE49-F238E27FC236}">
                <a16:creationId xmlns:a16="http://schemas.microsoft.com/office/drawing/2014/main" id="{C9BA0CC5-C97B-CB40-B55D-47F3DF5FB7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18125" y="3325723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3</a:t>
            </a:r>
          </a:p>
        </p:txBody>
      </p:sp>
      <p:sp>
        <p:nvSpPr>
          <p:cNvPr id="53" name="Textplatzhalter 24">
            <a:extLst>
              <a:ext uri="{FF2B5EF4-FFF2-40B4-BE49-F238E27FC236}">
                <a16:creationId xmlns:a16="http://schemas.microsoft.com/office/drawing/2014/main" id="{4A1F2CD7-D4D5-1549-8B6F-6A1942269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018125" y="3611909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3</a:t>
            </a:r>
          </a:p>
        </p:txBody>
      </p:sp>
      <p:sp>
        <p:nvSpPr>
          <p:cNvPr id="40" name="Textplatzhalter 19">
            <a:extLst>
              <a:ext uri="{FF2B5EF4-FFF2-40B4-BE49-F238E27FC236}">
                <a16:creationId xmlns:a16="http://schemas.microsoft.com/office/drawing/2014/main" id="{553D211E-7BF8-B84F-B468-6041A480F8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52395" y="4219054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54" name="Textplatzhalter 21">
            <a:extLst>
              <a:ext uri="{FF2B5EF4-FFF2-40B4-BE49-F238E27FC236}">
                <a16:creationId xmlns:a16="http://schemas.microsoft.com/office/drawing/2014/main" id="{7401EBD5-B928-4643-86C8-EA585E7F2C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18125" y="4378216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4</a:t>
            </a:r>
          </a:p>
        </p:txBody>
      </p:sp>
      <p:sp>
        <p:nvSpPr>
          <p:cNvPr id="55" name="Textplatzhalter 24">
            <a:extLst>
              <a:ext uri="{FF2B5EF4-FFF2-40B4-BE49-F238E27FC236}">
                <a16:creationId xmlns:a16="http://schemas.microsoft.com/office/drawing/2014/main" id="{A2EE3732-297D-024C-BFD0-CD792FE446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018125" y="4664402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4</a:t>
            </a:r>
          </a:p>
        </p:txBody>
      </p:sp>
      <p:sp>
        <p:nvSpPr>
          <p:cNvPr id="43" name="Textplatzhalter 19">
            <a:extLst>
              <a:ext uri="{FF2B5EF4-FFF2-40B4-BE49-F238E27FC236}">
                <a16:creationId xmlns:a16="http://schemas.microsoft.com/office/drawing/2014/main" id="{960410E4-AF54-F940-B6EB-ACE6E98A75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52395" y="5286303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  <p:sp>
        <p:nvSpPr>
          <p:cNvPr id="56" name="Textplatzhalter 21">
            <a:extLst>
              <a:ext uri="{FF2B5EF4-FFF2-40B4-BE49-F238E27FC236}">
                <a16:creationId xmlns:a16="http://schemas.microsoft.com/office/drawing/2014/main" id="{EF098C7E-3CF8-1A45-85B2-89ED6AB6B38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18125" y="5445465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5</a:t>
            </a:r>
          </a:p>
        </p:txBody>
      </p:sp>
      <p:sp>
        <p:nvSpPr>
          <p:cNvPr id="57" name="Textplatzhalter 24">
            <a:extLst>
              <a:ext uri="{FF2B5EF4-FFF2-40B4-BE49-F238E27FC236}">
                <a16:creationId xmlns:a16="http://schemas.microsoft.com/office/drawing/2014/main" id="{EA7AA22B-B607-4947-8B39-84A10E7C9F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18125" y="5731651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5</a:t>
            </a:r>
          </a:p>
        </p:txBody>
      </p:sp>
    </p:spTree>
    <p:extLst>
      <p:ext uri="{BB962C8B-B14F-4D97-AF65-F5344CB8AC3E}">
        <p14:creationId xmlns:p14="http://schemas.microsoft.com/office/powerpoint/2010/main" val="26188853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A7CFDEC-8980-6043-A592-C01CD41CE2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4" y="1076325"/>
            <a:ext cx="1265730" cy="806993"/>
          </a:xfrm>
          <a:ln w="9525">
            <a:noFill/>
          </a:ln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48" name="Textplatzhalter 21">
            <a:extLst>
              <a:ext uri="{FF2B5EF4-FFF2-40B4-BE49-F238E27FC236}">
                <a16:creationId xmlns:a16="http://schemas.microsoft.com/office/drawing/2014/main" id="{C4D9BC1A-3066-2546-8B16-33A1BD436F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61053" y="1235487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1</a:t>
            </a:r>
          </a:p>
        </p:txBody>
      </p:sp>
      <p:sp>
        <p:nvSpPr>
          <p:cNvPr id="49" name="Textplatzhalter 24">
            <a:extLst>
              <a:ext uri="{FF2B5EF4-FFF2-40B4-BE49-F238E27FC236}">
                <a16:creationId xmlns:a16="http://schemas.microsoft.com/office/drawing/2014/main" id="{C77C10C2-A3E5-B64A-BAA3-7E64CCEB97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61053" y="1521673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1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sp>
        <p:nvSpPr>
          <p:cNvPr id="34" name="Textplatzhalter 19">
            <a:extLst>
              <a:ext uri="{FF2B5EF4-FFF2-40B4-BE49-F238E27FC236}">
                <a16:creationId xmlns:a16="http://schemas.microsoft.com/office/drawing/2014/main" id="{196E225E-1A45-6740-BD6D-86EE610A89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4" y="2121443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50" name="Textplatzhalter 21">
            <a:extLst>
              <a:ext uri="{FF2B5EF4-FFF2-40B4-BE49-F238E27FC236}">
                <a16:creationId xmlns:a16="http://schemas.microsoft.com/office/drawing/2014/main" id="{F45F6ACA-0CB2-0041-ABDC-0ACE07CF738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1053" y="2280605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2</a:t>
            </a:r>
          </a:p>
        </p:txBody>
      </p:sp>
      <p:sp>
        <p:nvSpPr>
          <p:cNvPr id="51" name="Textplatzhalter 24">
            <a:extLst>
              <a:ext uri="{FF2B5EF4-FFF2-40B4-BE49-F238E27FC236}">
                <a16:creationId xmlns:a16="http://schemas.microsoft.com/office/drawing/2014/main" id="{2F540847-7EF2-E644-97F9-67F7C36131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1053" y="2566791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2</a:t>
            </a:r>
          </a:p>
        </p:txBody>
      </p:sp>
      <p:sp>
        <p:nvSpPr>
          <p:cNvPr id="37" name="Textplatzhalter 19">
            <a:extLst>
              <a:ext uri="{FF2B5EF4-FFF2-40B4-BE49-F238E27FC236}">
                <a16:creationId xmlns:a16="http://schemas.microsoft.com/office/drawing/2014/main" id="{C582A761-5190-FA48-9223-7777578FB0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324" y="3166561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52" name="Textplatzhalter 21">
            <a:extLst>
              <a:ext uri="{FF2B5EF4-FFF2-40B4-BE49-F238E27FC236}">
                <a16:creationId xmlns:a16="http://schemas.microsoft.com/office/drawing/2014/main" id="{C9BA0CC5-C97B-CB40-B55D-47F3DF5FB7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1053" y="3325723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3</a:t>
            </a:r>
          </a:p>
        </p:txBody>
      </p:sp>
      <p:sp>
        <p:nvSpPr>
          <p:cNvPr id="53" name="Textplatzhalter 24">
            <a:extLst>
              <a:ext uri="{FF2B5EF4-FFF2-40B4-BE49-F238E27FC236}">
                <a16:creationId xmlns:a16="http://schemas.microsoft.com/office/drawing/2014/main" id="{4A1F2CD7-D4D5-1549-8B6F-6A1942269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1053" y="3611909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3</a:t>
            </a:r>
          </a:p>
        </p:txBody>
      </p:sp>
      <p:sp>
        <p:nvSpPr>
          <p:cNvPr id="40" name="Textplatzhalter 19">
            <a:extLst>
              <a:ext uri="{FF2B5EF4-FFF2-40B4-BE49-F238E27FC236}">
                <a16:creationId xmlns:a16="http://schemas.microsoft.com/office/drawing/2014/main" id="{553D211E-7BF8-B84F-B468-6041A480F8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5324" y="4219054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54" name="Textplatzhalter 21">
            <a:extLst>
              <a:ext uri="{FF2B5EF4-FFF2-40B4-BE49-F238E27FC236}">
                <a16:creationId xmlns:a16="http://schemas.microsoft.com/office/drawing/2014/main" id="{7401EBD5-B928-4643-86C8-EA585E7F2C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61053" y="4378216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4</a:t>
            </a:r>
          </a:p>
        </p:txBody>
      </p:sp>
      <p:sp>
        <p:nvSpPr>
          <p:cNvPr id="55" name="Textplatzhalter 24">
            <a:extLst>
              <a:ext uri="{FF2B5EF4-FFF2-40B4-BE49-F238E27FC236}">
                <a16:creationId xmlns:a16="http://schemas.microsoft.com/office/drawing/2014/main" id="{A2EE3732-297D-024C-BFD0-CD792FE446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61053" y="4664402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4</a:t>
            </a:r>
          </a:p>
        </p:txBody>
      </p:sp>
      <p:sp>
        <p:nvSpPr>
          <p:cNvPr id="43" name="Textplatzhalter 19">
            <a:extLst>
              <a:ext uri="{FF2B5EF4-FFF2-40B4-BE49-F238E27FC236}">
                <a16:creationId xmlns:a16="http://schemas.microsoft.com/office/drawing/2014/main" id="{960410E4-AF54-F940-B6EB-ACE6E98A75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5324" y="5286303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  <p:sp>
        <p:nvSpPr>
          <p:cNvPr id="56" name="Textplatzhalter 21">
            <a:extLst>
              <a:ext uri="{FF2B5EF4-FFF2-40B4-BE49-F238E27FC236}">
                <a16:creationId xmlns:a16="http://schemas.microsoft.com/office/drawing/2014/main" id="{EF098C7E-3CF8-1A45-85B2-89ED6AB6B38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61053" y="5445465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5</a:t>
            </a:r>
          </a:p>
        </p:txBody>
      </p:sp>
      <p:sp>
        <p:nvSpPr>
          <p:cNvPr id="57" name="Textplatzhalter 24">
            <a:extLst>
              <a:ext uri="{FF2B5EF4-FFF2-40B4-BE49-F238E27FC236}">
                <a16:creationId xmlns:a16="http://schemas.microsoft.com/office/drawing/2014/main" id="{EA7AA22B-B607-4947-8B39-84A10E7C9F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61053" y="5731651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5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3691A95E-E905-1E49-80FF-FB034009D37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35755" y="1076325"/>
            <a:ext cx="1265730" cy="806993"/>
          </a:xfrm>
          <a:ln w="9525">
            <a:noFill/>
          </a:ln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23" name="Textplatzhalter 21">
            <a:extLst>
              <a:ext uri="{FF2B5EF4-FFF2-40B4-BE49-F238E27FC236}">
                <a16:creationId xmlns:a16="http://schemas.microsoft.com/office/drawing/2014/main" id="{447AD062-AEC7-214E-B0B4-FFDB493331D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01485" y="1235487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6</a:t>
            </a:r>
          </a:p>
        </p:txBody>
      </p:sp>
      <p:sp>
        <p:nvSpPr>
          <p:cNvPr id="24" name="Textplatzhalter 24">
            <a:extLst>
              <a:ext uri="{FF2B5EF4-FFF2-40B4-BE49-F238E27FC236}">
                <a16:creationId xmlns:a16="http://schemas.microsoft.com/office/drawing/2014/main" id="{AB91B477-95EF-5A47-AF84-DD76BC77FF6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01485" y="1521673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6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7227FD6B-918D-3A46-BA22-04D4212ED5C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5755" y="2121443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7</a:t>
            </a:r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4D8BEFD3-CB0B-F347-A6B0-39D3ABD3DA8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01485" y="2280605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7</a:t>
            </a:r>
          </a:p>
        </p:txBody>
      </p:sp>
      <p:sp>
        <p:nvSpPr>
          <p:cNvPr id="27" name="Textplatzhalter 24">
            <a:extLst>
              <a:ext uri="{FF2B5EF4-FFF2-40B4-BE49-F238E27FC236}">
                <a16:creationId xmlns:a16="http://schemas.microsoft.com/office/drawing/2014/main" id="{843D8193-D959-7F4C-9E3F-E398B9A08C3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901485" y="2566791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7</a:t>
            </a:r>
          </a:p>
        </p:txBody>
      </p:sp>
      <p:sp>
        <p:nvSpPr>
          <p:cNvPr id="28" name="Textplatzhalter 19">
            <a:extLst>
              <a:ext uri="{FF2B5EF4-FFF2-40B4-BE49-F238E27FC236}">
                <a16:creationId xmlns:a16="http://schemas.microsoft.com/office/drawing/2014/main" id="{B3033D03-C34D-AE44-B8F2-7D358A6EC76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635755" y="3166561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8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B408A5D5-18AC-4F4C-AA03-22BAB865BEC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901485" y="3325723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8</a:t>
            </a:r>
          </a:p>
        </p:txBody>
      </p:sp>
      <p:sp>
        <p:nvSpPr>
          <p:cNvPr id="30" name="Textplatzhalter 24">
            <a:extLst>
              <a:ext uri="{FF2B5EF4-FFF2-40B4-BE49-F238E27FC236}">
                <a16:creationId xmlns:a16="http://schemas.microsoft.com/office/drawing/2014/main" id="{ED2B75C3-FD53-B147-86E1-1A00ACF8AF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901485" y="3611909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8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79B0FF41-46D0-3F4F-B52D-D13E9F3C7A7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35755" y="4219054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9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B6182259-C8B2-AE44-8712-892A2FDBDDB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01485" y="4378216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9</a:t>
            </a:r>
          </a:p>
        </p:txBody>
      </p:sp>
      <p:sp>
        <p:nvSpPr>
          <p:cNvPr id="33" name="Textplatzhalter 24">
            <a:extLst>
              <a:ext uri="{FF2B5EF4-FFF2-40B4-BE49-F238E27FC236}">
                <a16:creationId xmlns:a16="http://schemas.microsoft.com/office/drawing/2014/main" id="{08917E0C-5135-4745-89FB-6F591A324A7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901485" y="4664402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9</a:t>
            </a:r>
          </a:p>
        </p:txBody>
      </p:sp>
      <p:sp>
        <p:nvSpPr>
          <p:cNvPr id="35" name="Textplatzhalter 19">
            <a:extLst>
              <a:ext uri="{FF2B5EF4-FFF2-40B4-BE49-F238E27FC236}">
                <a16:creationId xmlns:a16="http://schemas.microsoft.com/office/drawing/2014/main" id="{8BBA3ABF-741A-ED42-9B65-7AF756E55C1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35755" y="5286303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10</a:t>
            </a:r>
          </a:p>
        </p:txBody>
      </p:sp>
      <p:sp>
        <p:nvSpPr>
          <p:cNvPr id="36" name="Textplatzhalter 21">
            <a:extLst>
              <a:ext uri="{FF2B5EF4-FFF2-40B4-BE49-F238E27FC236}">
                <a16:creationId xmlns:a16="http://schemas.microsoft.com/office/drawing/2014/main" id="{38C0706A-CF2C-114A-89D1-EE099FF07A1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01485" y="5445465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10</a:t>
            </a:r>
          </a:p>
        </p:txBody>
      </p:sp>
      <p:sp>
        <p:nvSpPr>
          <p:cNvPr id="38" name="Textplatzhalter 24">
            <a:extLst>
              <a:ext uri="{FF2B5EF4-FFF2-40B4-BE49-F238E27FC236}">
                <a16:creationId xmlns:a16="http://schemas.microsoft.com/office/drawing/2014/main" id="{3D803161-041E-054D-A7BB-E3706E78C4A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01485" y="5731651"/>
            <a:ext cx="3910158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10</a:t>
            </a:r>
          </a:p>
        </p:txBody>
      </p:sp>
    </p:spTree>
    <p:extLst>
      <p:ext uri="{BB962C8B-B14F-4D97-AF65-F5344CB8AC3E}">
        <p14:creationId xmlns:p14="http://schemas.microsoft.com/office/powerpoint/2010/main" val="31938630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52399" y="-240327"/>
            <a:ext cx="11341101" cy="537804"/>
          </a:xfrm>
        </p:spPr>
        <p:txBody>
          <a:bodyPr/>
          <a:lstStyle>
            <a:lvl1pPr>
              <a:defRPr sz="10000" b="1"/>
            </a:lvl1pPr>
          </a:lstStyle>
          <a:p>
            <a:r>
              <a:rPr lang="de-DE"/>
              <a:t>Agenda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A7CFDEC-8980-6043-A592-C01CD41CE2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2395" y="1526479"/>
            <a:ext cx="1265730" cy="806993"/>
          </a:xfrm>
          <a:ln w="9525">
            <a:noFill/>
          </a:ln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48" name="Textplatzhalter 21">
            <a:extLst>
              <a:ext uri="{FF2B5EF4-FFF2-40B4-BE49-F238E27FC236}">
                <a16:creationId xmlns:a16="http://schemas.microsoft.com/office/drawing/2014/main" id="{C4D9BC1A-3066-2546-8B16-33A1BD436F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18125" y="1685641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1</a:t>
            </a:r>
          </a:p>
        </p:txBody>
      </p:sp>
      <p:sp>
        <p:nvSpPr>
          <p:cNvPr id="49" name="Textplatzhalter 24">
            <a:extLst>
              <a:ext uri="{FF2B5EF4-FFF2-40B4-BE49-F238E27FC236}">
                <a16:creationId xmlns:a16="http://schemas.microsoft.com/office/drawing/2014/main" id="{C77C10C2-A3E5-B64A-BAA3-7E64CCEB97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18125" y="1971827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1</a:t>
            </a:r>
          </a:p>
        </p:txBody>
      </p:sp>
      <p:sp>
        <p:nvSpPr>
          <p:cNvPr id="34" name="Textplatzhalter 19">
            <a:extLst>
              <a:ext uri="{FF2B5EF4-FFF2-40B4-BE49-F238E27FC236}">
                <a16:creationId xmlns:a16="http://schemas.microsoft.com/office/drawing/2014/main" id="{196E225E-1A45-6740-BD6D-86EE610A89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52395" y="2571597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50" name="Textplatzhalter 21">
            <a:extLst>
              <a:ext uri="{FF2B5EF4-FFF2-40B4-BE49-F238E27FC236}">
                <a16:creationId xmlns:a16="http://schemas.microsoft.com/office/drawing/2014/main" id="{F45F6ACA-0CB2-0041-ABDC-0ACE07CF738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18125" y="2730759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2</a:t>
            </a:r>
          </a:p>
        </p:txBody>
      </p:sp>
      <p:sp>
        <p:nvSpPr>
          <p:cNvPr id="51" name="Textplatzhalter 24">
            <a:extLst>
              <a:ext uri="{FF2B5EF4-FFF2-40B4-BE49-F238E27FC236}">
                <a16:creationId xmlns:a16="http://schemas.microsoft.com/office/drawing/2014/main" id="{2F540847-7EF2-E644-97F9-67F7C36131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18125" y="3016945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2</a:t>
            </a:r>
          </a:p>
        </p:txBody>
      </p:sp>
      <p:sp>
        <p:nvSpPr>
          <p:cNvPr id="37" name="Textplatzhalter 19">
            <a:extLst>
              <a:ext uri="{FF2B5EF4-FFF2-40B4-BE49-F238E27FC236}">
                <a16:creationId xmlns:a16="http://schemas.microsoft.com/office/drawing/2014/main" id="{C582A761-5190-FA48-9223-7777578FB0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52395" y="3616715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52" name="Textplatzhalter 21">
            <a:extLst>
              <a:ext uri="{FF2B5EF4-FFF2-40B4-BE49-F238E27FC236}">
                <a16:creationId xmlns:a16="http://schemas.microsoft.com/office/drawing/2014/main" id="{C9BA0CC5-C97B-CB40-B55D-47F3DF5FB7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18125" y="3775877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3</a:t>
            </a:r>
          </a:p>
        </p:txBody>
      </p:sp>
      <p:sp>
        <p:nvSpPr>
          <p:cNvPr id="53" name="Textplatzhalter 24">
            <a:extLst>
              <a:ext uri="{FF2B5EF4-FFF2-40B4-BE49-F238E27FC236}">
                <a16:creationId xmlns:a16="http://schemas.microsoft.com/office/drawing/2014/main" id="{4A1F2CD7-D4D5-1549-8B6F-6A1942269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018125" y="4062063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3</a:t>
            </a:r>
          </a:p>
        </p:txBody>
      </p:sp>
      <p:sp>
        <p:nvSpPr>
          <p:cNvPr id="40" name="Textplatzhalter 19">
            <a:extLst>
              <a:ext uri="{FF2B5EF4-FFF2-40B4-BE49-F238E27FC236}">
                <a16:creationId xmlns:a16="http://schemas.microsoft.com/office/drawing/2014/main" id="{553D211E-7BF8-B84F-B468-6041A480F8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52395" y="4669208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54" name="Textplatzhalter 21">
            <a:extLst>
              <a:ext uri="{FF2B5EF4-FFF2-40B4-BE49-F238E27FC236}">
                <a16:creationId xmlns:a16="http://schemas.microsoft.com/office/drawing/2014/main" id="{7401EBD5-B928-4643-86C8-EA585E7F2C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18125" y="4828370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4</a:t>
            </a:r>
          </a:p>
        </p:txBody>
      </p:sp>
      <p:sp>
        <p:nvSpPr>
          <p:cNvPr id="55" name="Textplatzhalter 24">
            <a:extLst>
              <a:ext uri="{FF2B5EF4-FFF2-40B4-BE49-F238E27FC236}">
                <a16:creationId xmlns:a16="http://schemas.microsoft.com/office/drawing/2014/main" id="{A2EE3732-297D-024C-BFD0-CD792FE446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018125" y="5114556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4</a:t>
            </a:r>
          </a:p>
        </p:txBody>
      </p:sp>
      <p:sp>
        <p:nvSpPr>
          <p:cNvPr id="43" name="Textplatzhalter 19">
            <a:extLst>
              <a:ext uri="{FF2B5EF4-FFF2-40B4-BE49-F238E27FC236}">
                <a16:creationId xmlns:a16="http://schemas.microsoft.com/office/drawing/2014/main" id="{960410E4-AF54-F940-B6EB-ACE6E98A75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52395" y="5736457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  <p:sp>
        <p:nvSpPr>
          <p:cNvPr id="56" name="Textplatzhalter 21">
            <a:extLst>
              <a:ext uri="{FF2B5EF4-FFF2-40B4-BE49-F238E27FC236}">
                <a16:creationId xmlns:a16="http://schemas.microsoft.com/office/drawing/2014/main" id="{EF098C7E-3CF8-1A45-85B2-89ED6AB6B38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18125" y="5895619"/>
            <a:ext cx="6069011" cy="248022"/>
          </a:xfrm>
        </p:spPr>
        <p:txBody>
          <a:bodyPr lIns="72000" anchor="b"/>
          <a:lstStyle>
            <a:lvl1pPr>
              <a:defRPr sz="18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5</a:t>
            </a:r>
          </a:p>
        </p:txBody>
      </p:sp>
      <p:sp>
        <p:nvSpPr>
          <p:cNvPr id="57" name="Textplatzhalter 24">
            <a:extLst>
              <a:ext uri="{FF2B5EF4-FFF2-40B4-BE49-F238E27FC236}">
                <a16:creationId xmlns:a16="http://schemas.microsoft.com/office/drawing/2014/main" id="{EA7AA22B-B607-4947-8B39-84A10E7C9F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18125" y="6181805"/>
            <a:ext cx="6069012" cy="361645"/>
          </a:xfrm>
        </p:spPr>
        <p:txBody>
          <a:bodyPr lIns="72000"/>
          <a:lstStyle>
            <a:lvl1pPr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5</a:t>
            </a:r>
          </a:p>
        </p:txBody>
      </p:sp>
    </p:spTree>
    <p:extLst>
      <p:ext uri="{BB962C8B-B14F-4D97-AF65-F5344CB8AC3E}">
        <p14:creationId xmlns:p14="http://schemas.microsoft.com/office/powerpoint/2010/main" val="39587001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52399" y="-240327"/>
            <a:ext cx="11341101" cy="537804"/>
          </a:xfrm>
        </p:spPr>
        <p:txBody>
          <a:bodyPr/>
          <a:lstStyle>
            <a:lvl1pPr>
              <a:defRPr sz="10000" b="1"/>
            </a:lvl1pPr>
          </a:lstStyle>
          <a:p>
            <a:r>
              <a:rPr lang="de-DE"/>
              <a:t>Agenda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A7CFDEC-8980-6043-A592-C01CD41CE2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4" y="1526479"/>
            <a:ext cx="1265730" cy="806993"/>
          </a:xfrm>
          <a:ln w="9525">
            <a:noFill/>
          </a:ln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48" name="Textplatzhalter 21">
            <a:extLst>
              <a:ext uri="{FF2B5EF4-FFF2-40B4-BE49-F238E27FC236}">
                <a16:creationId xmlns:a16="http://schemas.microsoft.com/office/drawing/2014/main" id="{C4D9BC1A-3066-2546-8B16-33A1BD436F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61054" y="1685641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1</a:t>
            </a:r>
          </a:p>
        </p:txBody>
      </p:sp>
      <p:sp>
        <p:nvSpPr>
          <p:cNvPr id="49" name="Textplatzhalter 24">
            <a:extLst>
              <a:ext uri="{FF2B5EF4-FFF2-40B4-BE49-F238E27FC236}">
                <a16:creationId xmlns:a16="http://schemas.microsoft.com/office/drawing/2014/main" id="{C77C10C2-A3E5-B64A-BAA3-7E64CCEB97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61054" y="1971827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1</a:t>
            </a:r>
          </a:p>
        </p:txBody>
      </p:sp>
      <p:sp>
        <p:nvSpPr>
          <p:cNvPr id="34" name="Textplatzhalter 19">
            <a:extLst>
              <a:ext uri="{FF2B5EF4-FFF2-40B4-BE49-F238E27FC236}">
                <a16:creationId xmlns:a16="http://schemas.microsoft.com/office/drawing/2014/main" id="{196E225E-1A45-6740-BD6D-86EE610A89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4" y="2571597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50" name="Textplatzhalter 21">
            <a:extLst>
              <a:ext uri="{FF2B5EF4-FFF2-40B4-BE49-F238E27FC236}">
                <a16:creationId xmlns:a16="http://schemas.microsoft.com/office/drawing/2014/main" id="{F45F6ACA-0CB2-0041-ABDC-0ACE07CF738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1054" y="2730759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2</a:t>
            </a:r>
          </a:p>
        </p:txBody>
      </p:sp>
      <p:sp>
        <p:nvSpPr>
          <p:cNvPr id="51" name="Textplatzhalter 24">
            <a:extLst>
              <a:ext uri="{FF2B5EF4-FFF2-40B4-BE49-F238E27FC236}">
                <a16:creationId xmlns:a16="http://schemas.microsoft.com/office/drawing/2014/main" id="{2F540847-7EF2-E644-97F9-67F7C36131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1054" y="3016945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2</a:t>
            </a:r>
          </a:p>
        </p:txBody>
      </p:sp>
      <p:sp>
        <p:nvSpPr>
          <p:cNvPr id="37" name="Textplatzhalter 19">
            <a:extLst>
              <a:ext uri="{FF2B5EF4-FFF2-40B4-BE49-F238E27FC236}">
                <a16:creationId xmlns:a16="http://schemas.microsoft.com/office/drawing/2014/main" id="{C582A761-5190-FA48-9223-7777578FB0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5324" y="3616715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52" name="Textplatzhalter 21">
            <a:extLst>
              <a:ext uri="{FF2B5EF4-FFF2-40B4-BE49-F238E27FC236}">
                <a16:creationId xmlns:a16="http://schemas.microsoft.com/office/drawing/2014/main" id="{C9BA0CC5-C97B-CB40-B55D-47F3DF5FB7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1054" y="3775877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3</a:t>
            </a:r>
          </a:p>
        </p:txBody>
      </p:sp>
      <p:sp>
        <p:nvSpPr>
          <p:cNvPr id="53" name="Textplatzhalter 24">
            <a:extLst>
              <a:ext uri="{FF2B5EF4-FFF2-40B4-BE49-F238E27FC236}">
                <a16:creationId xmlns:a16="http://schemas.microsoft.com/office/drawing/2014/main" id="{4A1F2CD7-D4D5-1549-8B6F-6A1942269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1054" y="4062063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3</a:t>
            </a:r>
          </a:p>
        </p:txBody>
      </p:sp>
      <p:sp>
        <p:nvSpPr>
          <p:cNvPr id="40" name="Textplatzhalter 19">
            <a:extLst>
              <a:ext uri="{FF2B5EF4-FFF2-40B4-BE49-F238E27FC236}">
                <a16:creationId xmlns:a16="http://schemas.microsoft.com/office/drawing/2014/main" id="{553D211E-7BF8-B84F-B468-6041A480F8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5324" y="4669208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54" name="Textplatzhalter 21">
            <a:extLst>
              <a:ext uri="{FF2B5EF4-FFF2-40B4-BE49-F238E27FC236}">
                <a16:creationId xmlns:a16="http://schemas.microsoft.com/office/drawing/2014/main" id="{7401EBD5-B928-4643-86C8-EA585E7F2C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61054" y="4828370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4</a:t>
            </a:r>
          </a:p>
        </p:txBody>
      </p:sp>
      <p:sp>
        <p:nvSpPr>
          <p:cNvPr id="55" name="Textplatzhalter 24">
            <a:extLst>
              <a:ext uri="{FF2B5EF4-FFF2-40B4-BE49-F238E27FC236}">
                <a16:creationId xmlns:a16="http://schemas.microsoft.com/office/drawing/2014/main" id="{A2EE3732-297D-024C-BFD0-CD792FE446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61054" y="5114556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4</a:t>
            </a:r>
          </a:p>
        </p:txBody>
      </p:sp>
      <p:sp>
        <p:nvSpPr>
          <p:cNvPr id="43" name="Textplatzhalter 19">
            <a:extLst>
              <a:ext uri="{FF2B5EF4-FFF2-40B4-BE49-F238E27FC236}">
                <a16:creationId xmlns:a16="http://schemas.microsoft.com/office/drawing/2014/main" id="{960410E4-AF54-F940-B6EB-ACE6E98A75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5324" y="5736457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  <p:sp>
        <p:nvSpPr>
          <p:cNvPr id="56" name="Textplatzhalter 21">
            <a:extLst>
              <a:ext uri="{FF2B5EF4-FFF2-40B4-BE49-F238E27FC236}">
                <a16:creationId xmlns:a16="http://schemas.microsoft.com/office/drawing/2014/main" id="{EF098C7E-3CF8-1A45-85B2-89ED6AB6B38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61054" y="5895619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5</a:t>
            </a:r>
          </a:p>
        </p:txBody>
      </p:sp>
      <p:sp>
        <p:nvSpPr>
          <p:cNvPr id="57" name="Textplatzhalter 24">
            <a:extLst>
              <a:ext uri="{FF2B5EF4-FFF2-40B4-BE49-F238E27FC236}">
                <a16:creationId xmlns:a16="http://schemas.microsoft.com/office/drawing/2014/main" id="{EA7AA22B-B607-4947-8B39-84A10E7C9F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61054" y="6181805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5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9CC79565-5214-BC41-986B-7E6DC33EA9A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35753" y="1526479"/>
            <a:ext cx="1265730" cy="806993"/>
          </a:xfrm>
          <a:ln w="9525">
            <a:noFill/>
          </a:ln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D8223DDF-4030-224A-825D-C30006AD599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01483" y="1685641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6</a:t>
            </a:r>
          </a:p>
        </p:txBody>
      </p:sp>
      <p:sp>
        <p:nvSpPr>
          <p:cNvPr id="23" name="Textplatzhalter 24">
            <a:extLst>
              <a:ext uri="{FF2B5EF4-FFF2-40B4-BE49-F238E27FC236}">
                <a16:creationId xmlns:a16="http://schemas.microsoft.com/office/drawing/2014/main" id="{52FC2BEC-C9FF-9A4B-AFE6-36AE1CB60C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01483" y="1971827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1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BC907E64-E88F-BE4D-ABB2-BACED03CDF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5753" y="2571597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7</a:t>
            </a:r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A041F206-B225-6C44-860E-C9B94943D6E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01483" y="2730759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7</a:t>
            </a:r>
          </a:p>
        </p:txBody>
      </p:sp>
      <p:sp>
        <p:nvSpPr>
          <p:cNvPr id="26" name="Textplatzhalter 24">
            <a:extLst>
              <a:ext uri="{FF2B5EF4-FFF2-40B4-BE49-F238E27FC236}">
                <a16:creationId xmlns:a16="http://schemas.microsoft.com/office/drawing/2014/main" id="{B73B590F-2AB0-1543-AC1F-35FE4F5DA64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901483" y="3016945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2</a:t>
            </a:r>
          </a:p>
        </p:txBody>
      </p:sp>
      <p:sp>
        <p:nvSpPr>
          <p:cNvPr id="27" name="Textplatzhalter 19">
            <a:extLst>
              <a:ext uri="{FF2B5EF4-FFF2-40B4-BE49-F238E27FC236}">
                <a16:creationId xmlns:a16="http://schemas.microsoft.com/office/drawing/2014/main" id="{4782AFB5-32B4-5146-8D10-4D9961E353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635753" y="3616715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8</a:t>
            </a:r>
          </a:p>
        </p:txBody>
      </p:sp>
      <p:sp>
        <p:nvSpPr>
          <p:cNvPr id="28" name="Textplatzhalter 21">
            <a:extLst>
              <a:ext uri="{FF2B5EF4-FFF2-40B4-BE49-F238E27FC236}">
                <a16:creationId xmlns:a16="http://schemas.microsoft.com/office/drawing/2014/main" id="{E988723C-E3DD-F84C-BD32-7ACA3FE48F2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901483" y="3775877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8</a:t>
            </a:r>
          </a:p>
        </p:txBody>
      </p:sp>
      <p:sp>
        <p:nvSpPr>
          <p:cNvPr id="29" name="Textplatzhalter 24">
            <a:extLst>
              <a:ext uri="{FF2B5EF4-FFF2-40B4-BE49-F238E27FC236}">
                <a16:creationId xmlns:a16="http://schemas.microsoft.com/office/drawing/2014/main" id="{7D5BF34F-B16E-FC4E-9C67-C00D7537483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901483" y="4062063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3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9EA7A803-9462-2547-BFD2-86C2A035BB2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35753" y="4669208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09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0DB9AE22-C32A-D44C-90E9-36B6E24BA3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01483" y="4828370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9</a:t>
            </a:r>
          </a:p>
        </p:txBody>
      </p:sp>
      <p:sp>
        <p:nvSpPr>
          <p:cNvPr id="32" name="Textplatzhalter 24">
            <a:extLst>
              <a:ext uri="{FF2B5EF4-FFF2-40B4-BE49-F238E27FC236}">
                <a16:creationId xmlns:a16="http://schemas.microsoft.com/office/drawing/2014/main" id="{CBA2F5E5-7F4A-2A48-A556-65B0A380E9E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901483" y="5114556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4</a:t>
            </a:r>
          </a:p>
        </p:txBody>
      </p:sp>
      <p:sp>
        <p:nvSpPr>
          <p:cNvPr id="33" name="Textplatzhalter 19">
            <a:extLst>
              <a:ext uri="{FF2B5EF4-FFF2-40B4-BE49-F238E27FC236}">
                <a16:creationId xmlns:a16="http://schemas.microsoft.com/office/drawing/2014/main" id="{73CBD0CA-C514-CB44-8E89-7AE45454509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35753" y="5736457"/>
            <a:ext cx="1265730" cy="806993"/>
          </a:xfrm>
        </p:spPr>
        <p:txBody>
          <a:bodyPr anchor="ctr"/>
          <a:lstStyle>
            <a:lvl1pPr>
              <a:defRPr sz="50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10</a:t>
            </a:r>
          </a:p>
        </p:txBody>
      </p:sp>
      <p:sp>
        <p:nvSpPr>
          <p:cNvPr id="35" name="Textplatzhalter 21">
            <a:extLst>
              <a:ext uri="{FF2B5EF4-FFF2-40B4-BE49-F238E27FC236}">
                <a16:creationId xmlns:a16="http://schemas.microsoft.com/office/drawing/2014/main" id="{85835953-4BA7-2941-BE42-09FEAB85619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01483" y="5895619"/>
            <a:ext cx="3910157" cy="248022"/>
          </a:xfrm>
        </p:spPr>
        <p:txBody>
          <a:bodyPr lIns="72000" anchor="b"/>
          <a:lstStyle>
            <a:lvl1pPr>
              <a:defRPr sz="1400" b="1" i="0"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Titel Kapitel 10</a:t>
            </a:r>
          </a:p>
        </p:txBody>
      </p:sp>
      <p:sp>
        <p:nvSpPr>
          <p:cNvPr id="36" name="Textplatzhalter 24">
            <a:extLst>
              <a:ext uri="{FF2B5EF4-FFF2-40B4-BE49-F238E27FC236}">
                <a16:creationId xmlns:a16="http://schemas.microsoft.com/office/drawing/2014/main" id="{2046EC98-D888-4F45-B7EB-A6C66E7A802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01483" y="6181805"/>
            <a:ext cx="3910158" cy="361645"/>
          </a:xfrm>
        </p:spPr>
        <p:txBody>
          <a:bodyPr lIns="72000"/>
          <a:lstStyle>
            <a:lvl1pPr>
              <a:defRPr sz="10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Untertitel und/oder erklärender Text zu Kapitel 5</a:t>
            </a:r>
          </a:p>
        </p:txBody>
      </p:sp>
    </p:spTree>
    <p:extLst>
      <p:ext uri="{BB962C8B-B14F-4D97-AF65-F5344CB8AC3E}">
        <p14:creationId xmlns:p14="http://schemas.microsoft.com/office/powerpoint/2010/main" val="5233150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5904537"/>
            <a:ext cx="113411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Ort | Datum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4755397"/>
            <a:ext cx="11341100" cy="736258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 der Präsentation</a:t>
            </a:r>
            <a:br>
              <a:rPr lang="de-DE" noProof="0"/>
            </a:br>
            <a:r>
              <a:rPr lang="de-DE" noProof="0"/>
              <a:t>(maximal 2-zeilig)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30A418CA-EC98-EB4C-A9B8-2DB51A22BF2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19433" y="3818002"/>
            <a:ext cx="1960658" cy="680464"/>
          </a:xfrm>
          <a:custGeom>
            <a:avLst/>
            <a:gdLst>
              <a:gd name="T0" fmla="*/ 2147483647 w 3769"/>
              <a:gd name="T1" fmla="*/ 2147483647 h 1303"/>
              <a:gd name="T2" fmla="*/ 2147483647 w 3769"/>
              <a:gd name="T3" fmla="*/ 2147483647 h 1303"/>
              <a:gd name="T4" fmla="*/ 2147483647 w 3769"/>
              <a:gd name="T5" fmla="*/ 2147483647 h 1303"/>
              <a:gd name="T6" fmla="*/ 2147483647 w 3769"/>
              <a:gd name="T7" fmla="*/ 2147483647 h 1303"/>
              <a:gd name="T8" fmla="*/ 2147483647 w 3769"/>
              <a:gd name="T9" fmla="*/ 2147483647 h 1303"/>
              <a:gd name="T10" fmla="*/ 2147483647 w 3769"/>
              <a:gd name="T11" fmla="*/ 2147483647 h 1303"/>
              <a:gd name="T12" fmla="*/ 2147483647 w 3769"/>
              <a:gd name="T13" fmla="*/ 2147483647 h 1303"/>
              <a:gd name="T14" fmla="*/ 2147483647 w 3769"/>
              <a:gd name="T15" fmla="*/ 2147483647 h 1303"/>
              <a:gd name="T16" fmla="*/ 2147483647 w 3769"/>
              <a:gd name="T17" fmla="*/ 2147483647 h 1303"/>
              <a:gd name="T18" fmla="*/ 2147483647 w 3769"/>
              <a:gd name="T19" fmla="*/ 2147483647 h 1303"/>
              <a:gd name="T20" fmla="*/ 2147483647 w 3769"/>
              <a:gd name="T21" fmla="*/ 2147483647 h 1303"/>
              <a:gd name="T22" fmla="*/ 2147483647 w 3769"/>
              <a:gd name="T23" fmla="*/ 2147483647 h 1303"/>
              <a:gd name="T24" fmla="*/ 2147483647 w 3769"/>
              <a:gd name="T25" fmla="*/ 2147483647 h 1303"/>
              <a:gd name="T26" fmla="*/ 2147483647 w 3769"/>
              <a:gd name="T27" fmla="*/ 2147483647 h 1303"/>
              <a:gd name="T28" fmla="*/ 2147483647 w 3769"/>
              <a:gd name="T29" fmla="*/ 2147483647 h 1303"/>
              <a:gd name="T30" fmla="*/ 2147483647 w 3769"/>
              <a:gd name="T31" fmla="*/ 2147483647 h 1303"/>
              <a:gd name="T32" fmla="*/ 2147483647 w 3769"/>
              <a:gd name="T33" fmla="*/ 2147483647 h 1303"/>
              <a:gd name="T34" fmla="*/ 2147483647 w 3769"/>
              <a:gd name="T35" fmla="*/ 2147483647 h 1303"/>
              <a:gd name="T36" fmla="*/ 2147483647 w 3769"/>
              <a:gd name="T37" fmla="*/ 2147483647 h 1303"/>
              <a:gd name="T38" fmla="*/ 2147483647 w 3769"/>
              <a:gd name="T39" fmla="*/ 2147483647 h 1303"/>
              <a:gd name="T40" fmla="*/ 2147483647 w 3769"/>
              <a:gd name="T41" fmla="*/ 2147483647 h 1303"/>
              <a:gd name="T42" fmla="*/ 2147483647 w 3769"/>
              <a:gd name="T43" fmla="*/ 2147483647 h 1303"/>
              <a:gd name="T44" fmla="*/ 2147483647 w 3769"/>
              <a:gd name="T45" fmla="*/ 2147483647 h 1303"/>
              <a:gd name="T46" fmla="*/ 2147483647 w 3769"/>
              <a:gd name="T47" fmla="*/ 2147483647 h 1303"/>
              <a:gd name="T48" fmla="*/ 2147483647 w 3769"/>
              <a:gd name="T49" fmla="*/ 2147483647 h 1303"/>
              <a:gd name="T50" fmla="*/ 2147483647 w 3769"/>
              <a:gd name="T51" fmla="*/ 2147483647 h 1303"/>
              <a:gd name="T52" fmla="*/ 2147483647 w 3769"/>
              <a:gd name="T53" fmla="*/ 2147483647 h 1303"/>
              <a:gd name="T54" fmla="*/ 2147483647 w 3769"/>
              <a:gd name="T55" fmla="*/ 2147483647 h 1303"/>
              <a:gd name="T56" fmla="*/ 2147483647 w 3769"/>
              <a:gd name="T57" fmla="*/ 2147483647 h 1303"/>
              <a:gd name="T58" fmla="*/ 2147483647 w 3769"/>
              <a:gd name="T59" fmla="*/ 2147483647 h 1303"/>
              <a:gd name="T60" fmla="*/ 2147483647 w 3769"/>
              <a:gd name="T61" fmla="*/ 0 h 1303"/>
              <a:gd name="T62" fmla="*/ 2147483647 w 3769"/>
              <a:gd name="T63" fmla="*/ 2147483647 h 1303"/>
              <a:gd name="T64" fmla="*/ 2147483647 w 3769"/>
              <a:gd name="T65" fmla="*/ 2147483647 h 1303"/>
              <a:gd name="T66" fmla="*/ 2147483647 w 3769"/>
              <a:gd name="T67" fmla="*/ 2147483647 h 1303"/>
              <a:gd name="T68" fmla="*/ 0 w 3769"/>
              <a:gd name="T69" fmla="*/ 2147483647 h 1303"/>
              <a:gd name="T70" fmla="*/ 2147483647 w 3769"/>
              <a:gd name="T71" fmla="*/ 2147483647 h 1303"/>
              <a:gd name="T72" fmla="*/ 2147483647 w 3769"/>
              <a:gd name="T73" fmla="*/ 2147483647 h 1303"/>
              <a:gd name="T74" fmla="*/ 2147483647 w 3769"/>
              <a:gd name="T75" fmla="*/ 2147483647 h 1303"/>
              <a:gd name="T76" fmla="*/ 2147483647 w 3769"/>
              <a:gd name="T77" fmla="*/ 2147483647 h 130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3769" h="1303">
                <a:moveTo>
                  <a:pt x="3117" y="1156"/>
                </a:moveTo>
                <a:lnTo>
                  <a:pt x="3117" y="1156"/>
                </a:lnTo>
                <a:cubicBezTo>
                  <a:pt x="3002" y="1156"/>
                  <a:pt x="2895" y="1117"/>
                  <a:pt x="2810" y="1052"/>
                </a:cubicBezTo>
                <a:cubicBezTo>
                  <a:pt x="2896" y="941"/>
                  <a:pt x="2948" y="802"/>
                  <a:pt x="2948" y="651"/>
                </a:cubicBezTo>
                <a:cubicBezTo>
                  <a:pt x="2948" y="500"/>
                  <a:pt x="2896" y="361"/>
                  <a:pt x="2810" y="251"/>
                </a:cubicBezTo>
                <a:cubicBezTo>
                  <a:pt x="2895" y="186"/>
                  <a:pt x="3002" y="147"/>
                  <a:pt x="3117" y="147"/>
                </a:cubicBezTo>
                <a:cubicBezTo>
                  <a:pt x="3396" y="147"/>
                  <a:pt x="3622" y="373"/>
                  <a:pt x="3622" y="651"/>
                </a:cubicBezTo>
                <a:cubicBezTo>
                  <a:pt x="3622" y="930"/>
                  <a:pt x="3396" y="1156"/>
                  <a:pt x="3117" y="1156"/>
                </a:cubicBezTo>
                <a:close/>
                <a:moveTo>
                  <a:pt x="1989" y="1052"/>
                </a:moveTo>
                <a:lnTo>
                  <a:pt x="1989" y="1052"/>
                </a:lnTo>
                <a:cubicBezTo>
                  <a:pt x="2075" y="941"/>
                  <a:pt x="2126" y="802"/>
                  <a:pt x="2126" y="651"/>
                </a:cubicBezTo>
                <a:cubicBezTo>
                  <a:pt x="2126" y="500"/>
                  <a:pt x="2075" y="361"/>
                  <a:pt x="1989" y="251"/>
                </a:cubicBezTo>
                <a:cubicBezTo>
                  <a:pt x="2074" y="186"/>
                  <a:pt x="2180" y="147"/>
                  <a:pt x="2296" y="147"/>
                </a:cubicBezTo>
                <a:cubicBezTo>
                  <a:pt x="2411" y="147"/>
                  <a:pt x="2518" y="186"/>
                  <a:pt x="2603" y="251"/>
                </a:cubicBezTo>
                <a:cubicBezTo>
                  <a:pt x="2517" y="362"/>
                  <a:pt x="2465" y="500"/>
                  <a:pt x="2465" y="651"/>
                </a:cubicBezTo>
                <a:cubicBezTo>
                  <a:pt x="2465" y="802"/>
                  <a:pt x="2517" y="941"/>
                  <a:pt x="2603" y="1052"/>
                </a:cubicBezTo>
                <a:cubicBezTo>
                  <a:pt x="2518" y="1117"/>
                  <a:pt x="2411" y="1156"/>
                  <a:pt x="2296" y="1156"/>
                </a:cubicBezTo>
                <a:cubicBezTo>
                  <a:pt x="2180" y="1156"/>
                  <a:pt x="2074" y="1117"/>
                  <a:pt x="1989" y="1052"/>
                </a:cubicBezTo>
                <a:close/>
                <a:moveTo>
                  <a:pt x="1167" y="1052"/>
                </a:moveTo>
                <a:lnTo>
                  <a:pt x="1167" y="1052"/>
                </a:lnTo>
                <a:cubicBezTo>
                  <a:pt x="1253" y="941"/>
                  <a:pt x="1305" y="802"/>
                  <a:pt x="1305" y="651"/>
                </a:cubicBezTo>
                <a:cubicBezTo>
                  <a:pt x="1305" y="500"/>
                  <a:pt x="1253" y="361"/>
                  <a:pt x="1167" y="251"/>
                </a:cubicBezTo>
                <a:cubicBezTo>
                  <a:pt x="1252" y="186"/>
                  <a:pt x="1359" y="147"/>
                  <a:pt x="1474" y="147"/>
                </a:cubicBezTo>
                <a:cubicBezTo>
                  <a:pt x="1590" y="147"/>
                  <a:pt x="1696" y="186"/>
                  <a:pt x="1781" y="251"/>
                </a:cubicBezTo>
                <a:cubicBezTo>
                  <a:pt x="1695" y="361"/>
                  <a:pt x="1644" y="500"/>
                  <a:pt x="1644" y="651"/>
                </a:cubicBezTo>
                <a:cubicBezTo>
                  <a:pt x="1644" y="802"/>
                  <a:pt x="1695" y="941"/>
                  <a:pt x="1781" y="1052"/>
                </a:cubicBezTo>
                <a:cubicBezTo>
                  <a:pt x="1696" y="1117"/>
                  <a:pt x="1590" y="1156"/>
                  <a:pt x="1474" y="1156"/>
                </a:cubicBezTo>
                <a:cubicBezTo>
                  <a:pt x="1359" y="1156"/>
                  <a:pt x="1252" y="1117"/>
                  <a:pt x="1167" y="1052"/>
                </a:cubicBezTo>
                <a:close/>
                <a:moveTo>
                  <a:pt x="148" y="651"/>
                </a:moveTo>
                <a:lnTo>
                  <a:pt x="148" y="651"/>
                </a:lnTo>
                <a:cubicBezTo>
                  <a:pt x="148" y="373"/>
                  <a:pt x="374" y="147"/>
                  <a:pt x="653" y="147"/>
                </a:cubicBezTo>
                <a:cubicBezTo>
                  <a:pt x="768" y="147"/>
                  <a:pt x="875" y="186"/>
                  <a:pt x="960" y="251"/>
                </a:cubicBezTo>
                <a:cubicBezTo>
                  <a:pt x="874" y="361"/>
                  <a:pt x="822" y="500"/>
                  <a:pt x="822" y="651"/>
                </a:cubicBezTo>
                <a:cubicBezTo>
                  <a:pt x="822" y="802"/>
                  <a:pt x="874" y="941"/>
                  <a:pt x="960" y="1052"/>
                </a:cubicBezTo>
                <a:cubicBezTo>
                  <a:pt x="875" y="1117"/>
                  <a:pt x="768" y="1156"/>
                  <a:pt x="653" y="1156"/>
                </a:cubicBezTo>
                <a:cubicBezTo>
                  <a:pt x="374" y="1156"/>
                  <a:pt x="148" y="930"/>
                  <a:pt x="148" y="651"/>
                </a:cubicBezTo>
                <a:close/>
                <a:moveTo>
                  <a:pt x="1063" y="944"/>
                </a:moveTo>
                <a:lnTo>
                  <a:pt x="1063" y="944"/>
                </a:lnTo>
                <a:cubicBezTo>
                  <a:pt x="1004" y="862"/>
                  <a:pt x="969" y="761"/>
                  <a:pt x="969" y="651"/>
                </a:cubicBezTo>
                <a:cubicBezTo>
                  <a:pt x="969" y="542"/>
                  <a:pt x="1004" y="441"/>
                  <a:pt x="1063" y="358"/>
                </a:cubicBezTo>
                <a:cubicBezTo>
                  <a:pt x="1122" y="441"/>
                  <a:pt x="1157" y="542"/>
                  <a:pt x="1157" y="651"/>
                </a:cubicBezTo>
                <a:cubicBezTo>
                  <a:pt x="1157" y="761"/>
                  <a:pt x="1122" y="862"/>
                  <a:pt x="1063" y="944"/>
                </a:cubicBezTo>
                <a:close/>
                <a:moveTo>
                  <a:pt x="1885" y="944"/>
                </a:moveTo>
                <a:lnTo>
                  <a:pt x="1885" y="944"/>
                </a:lnTo>
                <a:cubicBezTo>
                  <a:pt x="1826" y="862"/>
                  <a:pt x="1791" y="761"/>
                  <a:pt x="1791" y="651"/>
                </a:cubicBezTo>
                <a:cubicBezTo>
                  <a:pt x="1791" y="542"/>
                  <a:pt x="1826" y="441"/>
                  <a:pt x="1885" y="358"/>
                </a:cubicBezTo>
                <a:cubicBezTo>
                  <a:pt x="1944" y="441"/>
                  <a:pt x="1979" y="542"/>
                  <a:pt x="1979" y="651"/>
                </a:cubicBezTo>
                <a:cubicBezTo>
                  <a:pt x="1979" y="761"/>
                  <a:pt x="1944" y="862"/>
                  <a:pt x="1885" y="944"/>
                </a:cubicBezTo>
                <a:close/>
                <a:moveTo>
                  <a:pt x="2707" y="944"/>
                </a:moveTo>
                <a:lnTo>
                  <a:pt x="2707" y="944"/>
                </a:lnTo>
                <a:cubicBezTo>
                  <a:pt x="2648" y="862"/>
                  <a:pt x="2613" y="761"/>
                  <a:pt x="2613" y="651"/>
                </a:cubicBezTo>
                <a:cubicBezTo>
                  <a:pt x="2613" y="542"/>
                  <a:pt x="2648" y="441"/>
                  <a:pt x="2707" y="358"/>
                </a:cubicBezTo>
                <a:cubicBezTo>
                  <a:pt x="2766" y="441"/>
                  <a:pt x="2800" y="542"/>
                  <a:pt x="2800" y="651"/>
                </a:cubicBezTo>
                <a:cubicBezTo>
                  <a:pt x="2800" y="761"/>
                  <a:pt x="2766" y="862"/>
                  <a:pt x="2707" y="944"/>
                </a:cubicBezTo>
                <a:close/>
                <a:moveTo>
                  <a:pt x="3117" y="0"/>
                </a:moveTo>
                <a:lnTo>
                  <a:pt x="3117" y="0"/>
                </a:lnTo>
                <a:cubicBezTo>
                  <a:pt x="2962" y="0"/>
                  <a:pt x="2819" y="54"/>
                  <a:pt x="2707" y="145"/>
                </a:cubicBezTo>
                <a:cubicBezTo>
                  <a:pt x="2594" y="54"/>
                  <a:pt x="2452" y="0"/>
                  <a:pt x="2296" y="0"/>
                </a:cubicBezTo>
                <a:cubicBezTo>
                  <a:pt x="2140" y="0"/>
                  <a:pt x="1997" y="54"/>
                  <a:pt x="1885" y="145"/>
                </a:cubicBezTo>
                <a:cubicBezTo>
                  <a:pt x="1773" y="54"/>
                  <a:pt x="1630" y="0"/>
                  <a:pt x="1474" y="0"/>
                </a:cubicBezTo>
                <a:cubicBezTo>
                  <a:pt x="1318" y="0"/>
                  <a:pt x="1175" y="54"/>
                  <a:pt x="1063" y="145"/>
                </a:cubicBezTo>
                <a:cubicBezTo>
                  <a:pt x="951" y="54"/>
                  <a:pt x="808" y="0"/>
                  <a:pt x="653" y="0"/>
                </a:cubicBezTo>
                <a:cubicBezTo>
                  <a:pt x="292" y="0"/>
                  <a:pt x="0" y="291"/>
                  <a:pt x="0" y="651"/>
                </a:cubicBezTo>
                <a:cubicBezTo>
                  <a:pt x="0" y="1011"/>
                  <a:pt x="292" y="1303"/>
                  <a:pt x="653" y="1303"/>
                </a:cubicBezTo>
                <a:cubicBezTo>
                  <a:pt x="808" y="1303"/>
                  <a:pt x="951" y="1249"/>
                  <a:pt x="1063" y="1158"/>
                </a:cubicBezTo>
                <a:cubicBezTo>
                  <a:pt x="1175" y="1249"/>
                  <a:pt x="1318" y="1303"/>
                  <a:pt x="1474" y="1303"/>
                </a:cubicBezTo>
                <a:cubicBezTo>
                  <a:pt x="1630" y="1303"/>
                  <a:pt x="1773" y="1249"/>
                  <a:pt x="1885" y="1158"/>
                </a:cubicBezTo>
                <a:cubicBezTo>
                  <a:pt x="1997" y="1249"/>
                  <a:pt x="2140" y="1303"/>
                  <a:pt x="2296" y="1303"/>
                </a:cubicBezTo>
                <a:cubicBezTo>
                  <a:pt x="2452" y="1303"/>
                  <a:pt x="2594" y="1249"/>
                  <a:pt x="2707" y="1158"/>
                </a:cubicBezTo>
                <a:cubicBezTo>
                  <a:pt x="2819" y="1249"/>
                  <a:pt x="2962" y="1303"/>
                  <a:pt x="3117" y="1303"/>
                </a:cubicBezTo>
                <a:cubicBezTo>
                  <a:pt x="3478" y="1303"/>
                  <a:pt x="3769" y="1011"/>
                  <a:pt x="3769" y="651"/>
                </a:cubicBezTo>
                <a:cubicBezTo>
                  <a:pt x="3769" y="291"/>
                  <a:pt x="3478" y="0"/>
                  <a:pt x="3117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683101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 (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>
            <a:extLst>
              <a:ext uri="{FF2B5EF4-FFF2-40B4-BE49-F238E27FC236}">
                <a16:creationId xmlns:a16="http://schemas.microsoft.com/office/drawing/2014/main" id="{5EFEB0A2-CBE8-8743-9112-AAC648DA5758}"/>
              </a:ext>
            </a:extLst>
          </p:cNvPr>
          <p:cNvSpPr/>
          <p:nvPr userDrawn="1"/>
        </p:nvSpPr>
        <p:spPr>
          <a:xfrm>
            <a:off x="5724919" y="4039534"/>
            <a:ext cx="1959932" cy="1959932"/>
          </a:xfrm>
          <a:prstGeom prst="ellipse">
            <a:avLst/>
          </a:prstGeom>
          <a:solidFill>
            <a:schemeClr val="tx1"/>
          </a:solidFill>
          <a:ln w="1270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412717"/>
            <a:ext cx="5221288" cy="2410916"/>
          </a:xfrm>
        </p:spPr>
        <p:txBody>
          <a:bodyPr wrap="square" anchor="b">
            <a:spAutoFit/>
          </a:bodyPr>
          <a:lstStyle>
            <a:lvl1pPr marL="0" indent="0" algn="l">
              <a:lnSpc>
                <a:spcPts val="4740"/>
              </a:lnSpc>
              <a:spcBef>
                <a:spcPts val="0"/>
              </a:spcBef>
              <a:buNone/>
              <a:defRPr sz="42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Titel der Präsentation</a:t>
            </a:r>
            <a:br>
              <a:rPr lang="de-DE" noProof="0"/>
            </a:br>
            <a:r>
              <a:rPr lang="de-DE" noProof="0"/>
              <a:t>in maximal</a:t>
            </a:r>
            <a:br>
              <a:rPr lang="de-DE" noProof="0"/>
            </a:br>
            <a:r>
              <a:rPr lang="de-DE" noProof="0"/>
              <a:t>vier Zei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AE595C-2F39-2845-AC37-5AB35A4FA6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3" y="2984937"/>
            <a:ext cx="5221289" cy="251413"/>
          </a:xfrm>
        </p:spPr>
        <p:txBody>
          <a:bodyPr/>
          <a:lstStyle>
            <a:lvl1pPr>
              <a:defRPr sz="1400" b="0" i="0"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Ort | Datum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79B3042-012F-F94D-99B0-7C9B4AF7343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609011 w 6096000"/>
              <a:gd name="connsiteY0" fmla="*/ 4044239 h 6858000"/>
              <a:gd name="connsiteX1" fmla="*/ 1583858 w 6096000"/>
              <a:gd name="connsiteY1" fmla="*/ 5019086 h 6858000"/>
              <a:gd name="connsiteX2" fmla="*/ 609011 w 6096000"/>
              <a:gd name="connsiteY2" fmla="*/ 5993933 h 6858000"/>
              <a:gd name="connsiteX3" fmla="*/ 63965 w 6096000"/>
              <a:gd name="connsiteY3" fmla="*/ 5827445 h 6858000"/>
              <a:gd name="connsiteX4" fmla="*/ 20969 w 6096000"/>
              <a:gd name="connsiteY4" fmla="*/ 5791970 h 6858000"/>
              <a:gd name="connsiteX5" fmla="*/ 67695 w 6096000"/>
              <a:gd name="connsiteY5" fmla="*/ 5729485 h 6858000"/>
              <a:gd name="connsiteX6" fmla="*/ 284691 w 6096000"/>
              <a:gd name="connsiteY6" fmla="*/ 5019086 h 6858000"/>
              <a:gd name="connsiteX7" fmla="*/ 67695 w 6096000"/>
              <a:gd name="connsiteY7" fmla="*/ 4308688 h 6858000"/>
              <a:gd name="connsiteX8" fmla="*/ 20969 w 6096000"/>
              <a:gd name="connsiteY8" fmla="*/ 4246203 h 6858000"/>
              <a:gd name="connsiteX9" fmla="*/ 63965 w 6096000"/>
              <a:gd name="connsiteY9" fmla="*/ 4210728 h 6858000"/>
              <a:gd name="connsiteX10" fmla="*/ 609011 w 6096000"/>
              <a:gd name="connsiteY10" fmla="*/ 4044239 h 6858000"/>
              <a:gd name="connsiteX11" fmla="*/ 0 w 6096000"/>
              <a:gd name="connsiteY11" fmla="*/ 0 h 6858000"/>
              <a:gd name="connsiteX12" fmla="*/ 6096000 w 6096000"/>
              <a:gd name="connsiteY12" fmla="*/ 0 h 6858000"/>
              <a:gd name="connsiteX13" fmla="*/ 6096000 w 6096000"/>
              <a:gd name="connsiteY13" fmla="*/ 6858000 h 6858000"/>
              <a:gd name="connsiteX14" fmla="*/ 0 w 6096000"/>
              <a:gd name="connsiteY14" fmla="*/ 6858000 h 6858000"/>
              <a:gd name="connsiteX15" fmla="*/ 0 w 6096000"/>
              <a:gd name="connsiteY15" fmla="*/ 6130954 h 6858000"/>
              <a:gd name="connsiteX16" fmla="*/ 58159 w 6096000"/>
              <a:gd name="connsiteY16" fmla="*/ 6164382 h 6858000"/>
              <a:gd name="connsiteX17" fmla="*/ 609011 w 6096000"/>
              <a:gd name="connsiteY17" fmla="*/ 6289675 h 6858000"/>
              <a:gd name="connsiteX18" fmla="*/ 1879600 w 6096000"/>
              <a:gd name="connsiteY18" fmla="*/ 5019086 h 6858000"/>
              <a:gd name="connsiteX19" fmla="*/ 609011 w 6096000"/>
              <a:gd name="connsiteY19" fmla="*/ 3748497 h 6858000"/>
              <a:gd name="connsiteX20" fmla="*/ 58159 w 6096000"/>
              <a:gd name="connsiteY20" fmla="*/ 3873791 h 6858000"/>
              <a:gd name="connsiteX21" fmla="*/ 0 w 6096000"/>
              <a:gd name="connsiteY21" fmla="*/ 39072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0" h="6858000">
                <a:moveTo>
                  <a:pt x="609011" y="4044239"/>
                </a:moveTo>
                <a:cubicBezTo>
                  <a:pt x="1147404" y="4044239"/>
                  <a:pt x="1583858" y="4480693"/>
                  <a:pt x="1583858" y="5019086"/>
                </a:cubicBezTo>
                <a:cubicBezTo>
                  <a:pt x="1583858" y="5557479"/>
                  <a:pt x="1147404" y="5993933"/>
                  <a:pt x="609011" y="5993933"/>
                </a:cubicBezTo>
                <a:cubicBezTo>
                  <a:pt x="407114" y="5993933"/>
                  <a:pt x="219552" y="5932557"/>
                  <a:pt x="63965" y="5827445"/>
                </a:cubicBezTo>
                <a:lnTo>
                  <a:pt x="20969" y="5791970"/>
                </a:lnTo>
                <a:lnTo>
                  <a:pt x="67695" y="5729485"/>
                </a:lnTo>
                <a:cubicBezTo>
                  <a:pt x="204695" y="5526697"/>
                  <a:pt x="284691" y="5282234"/>
                  <a:pt x="284691" y="5019086"/>
                </a:cubicBezTo>
                <a:cubicBezTo>
                  <a:pt x="284691" y="4755939"/>
                  <a:pt x="204695" y="4511475"/>
                  <a:pt x="67695" y="4308688"/>
                </a:cubicBezTo>
                <a:lnTo>
                  <a:pt x="20969" y="4246203"/>
                </a:lnTo>
                <a:lnTo>
                  <a:pt x="63965" y="4210728"/>
                </a:lnTo>
                <a:cubicBezTo>
                  <a:pt x="219552" y="4105616"/>
                  <a:pt x="407114" y="4044239"/>
                  <a:pt x="609011" y="4044239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lnTo>
                  <a:pt x="0" y="6130954"/>
                </a:lnTo>
                <a:lnTo>
                  <a:pt x="58159" y="6164382"/>
                </a:lnTo>
                <a:cubicBezTo>
                  <a:pt x="224800" y="6244678"/>
                  <a:pt x="411651" y="6289675"/>
                  <a:pt x="609011" y="6289675"/>
                </a:cubicBezTo>
                <a:cubicBezTo>
                  <a:pt x="1310738" y="6289675"/>
                  <a:pt x="1879600" y="5720813"/>
                  <a:pt x="1879600" y="5019086"/>
                </a:cubicBezTo>
                <a:cubicBezTo>
                  <a:pt x="1879600" y="4317359"/>
                  <a:pt x="1310738" y="3748497"/>
                  <a:pt x="609011" y="3748497"/>
                </a:cubicBezTo>
                <a:cubicBezTo>
                  <a:pt x="411651" y="3748497"/>
                  <a:pt x="224800" y="3793495"/>
                  <a:pt x="58159" y="3873791"/>
                </a:cubicBezTo>
                <a:lnTo>
                  <a:pt x="0" y="3907219"/>
                </a:ln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wrap="square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10" name="Freihandform 9">
            <a:extLst>
              <a:ext uri="{FF2B5EF4-FFF2-40B4-BE49-F238E27FC236}">
                <a16:creationId xmlns:a16="http://schemas.microsoft.com/office/drawing/2014/main" id="{104D92BF-A563-D247-A954-30EA3D8203AD}"/>
              </a:ext>
            </a:extLst>
          </p:cNvPr>
          <p:cNvSpPr/>
          <p:nvPr userDrawn="1"/>
        </p:nvSpPr>
        <p:spPr>
          <a:xfrm>
            <a:off x="649697" y="3748497"/>
            <a:ext cx="7325903" cy="2541178"/>
          </a:xfrm>
          <a:custGeom>
            <a:avLst/>
            <a:gdLst>
              <a:gd name="connsiteX0" fmla="*/ 5257860 w 7325903"/>
              <a:gd name="connsiteY0" fmla="*/ 712327 h 2541178"/>
              <a:gd name="connsiteX1" fmla="*/ 5246956 w 7325903"/>
              <a:gd name="connsiteY1" fmla="*/ 725543 h 2541178"/>
              <a:gd name="connsiteX2" fmla="*/ 5080467 w 7325903"/>
              <a:gd name="connsiteY2" fmla="*/ 1270589 h 2541178"/>
              <a:gd name="connsiteX3" fmla="*/ 5246956 w 7325903"/>
              <a:gd name="connsiteY3" fmla="*/ 1815635 h 2541178"/>
              <a:gd name="connsiteX4" fmla="*/ 5257860 w 7325903"/>
              <a:gd name="connsiteY4" fmla="*/ 1828851 h 2541178"/>
              <a:gd name="connsiteX5" fmla="*/ 5268764 w 7325903"/>
              <a:gd name="connsiteY5" fmla="*/ 1815635 h 2541178"/>
              <a:gd name="connsiteX6" fmla="*/ 5435252 w 7325903"/>
              <a:gd name="connsiteY6" fmla="*/ 1270589 h 2541178"/>
              <a:gd name="connsiteX7" fmla="*/ 5268764 w 7325903"/>
              <a:gd name="connsiteY7" fmla="*/ 725543 h 2541178"/>
              <a:gd name="connsiteX8" fmla="*/ 3662951 w 7325903"/>
              <a:gd name="connsiteY8" fmla="*/ 712327 h 2541178"/>
              <a:gd name="connsiteX9" fmla="*/ 3652047 w 7325903"/>
              <a:gd name="connsiteY9" fmla="*/ 725543 h 2541178"/>
              <a:gd name="connsiteX10" fmla="*/ 3485558 w 7325903"/>
              <a:gd name="connsiteY10" fmla="*/ 1270589 h 2541178"/>
              <a:gd name="connsiteX11" fmla="*/ 3652047 w 7325903"/>
              <a:gd name="connsiteY11" fmla="*/ 1815635 h 2541178"/>
              <a:gd name="connsiteX12" fmla="*/ 3662951 w 7325903"/>
              <a:gd name="connsiteY12" fmla="*/ 1828852 h 2541178"/>
              <a:gd name="connsiteX13" fmla="*/ 3673856 w 7325903"/>
              <a:gd name="connsiteY13" fmla="*/ 1815635 h 2541178"/>
              <a:gd name="connsiteX14" fmla="*/ 3840344 w 7325903"/>
              <a:gd name="connsiteY14" fmla="*/ 1270589 h 2541178"/>
              <a:gd name="connsiteX15" fmla="*/ 3673856 w 7325903"/>
              <a:gd name="connsiteY15" fmla="*/ 725543 h 2541178"/>
              <a:gd name="connsiteX16" fmla="*/ 2068043 w 7325903"/>
              <a:gd name="connsiteY16" fmla="*/ 712327 h 2541178"/>
              <a:gd name="connsiteX17" fmla="*/ 2057139 w 7325903"/>
              <a:gd name="connsiteY17" fmla="*/ 725543 h 2541178"/>
              <a:gd name="connsiteX18" fmla="*/ 1890650 w 7325903"/>
              <a:gd name="connsiteY18" fmla="*/ 1270589 h 2541178"/>
              <a:gd name="connsiteX19" fmla="*/ 2057139 w 7325903"/>
              <a:gd name="connsiteY19" fmla="*/ 1815635 h 2541178"/>
              <a:gd name="connsiteX20" fmla="*/ 2068043 w 7325903"/>
              <a:gd name="connsiteY20" fmla="*/ 1828852 h 2541178"/>
              <a:gd name="connsiteX21" fmla="*/ 2078948 w 7325903"/>
              <a:gd name="connsiteY21" fmla="*/ 1815635 h 2541178"/>
              <a:gd name="connsiteX22" fmla="*/ 2245436 w 7325903"/>
              <a:gd name="connsiteY22" fmla="*/ 1270589 h 2541178"/>
              <a:gd name="connsiteX23" fmla="*/ 2078948 w 7325903"/>
              <a:gd name="connsiteY23" fmla="*/ 725543 h 2541178"/>
              <a:gd name="connsiteX24" fmla="*/ 6055314 w 7325903"/>
              <a:gd name="connsiteY24" fmla="*/ 295742 h 2541178"/>
              <a:gd name="connsiteX25" fmla="*/ 5510268 w 7325903"/>
              <a:gd name="connsiteY25" fmla="*/ 462231 h 2541178"/>
              <a:gd name="connsiteX26" fmla="*/ 5467272 w 7325903"/>
              <a:gd name="connsiteY26" fmla="*/ 497706 h 2541178"/>
              <a:gd name="connsiteX27" fmla="*/ 5513998 w 7325903"/>
              <a:gd name="connsiteY27" fmla="*/ 560191 h 2541178"/>
              <a:gd name="connsiteX28" fmla="*/ 5730994 w 7325903"/>
              <a:gd name="connsiteY28" fmla="*/ 1270589 h 2541178"/>
              <a:gd name="connsiteX29" fmla="*/ 5513998 w 7325903"/>
              <a:gd name="connsiteY29" fmla="*/ 1980988 h 2541178"/>
              <a:gd name="connsiteX30" fmla="*/ 5467272 w 7325903"/>
              <a:gd name="connsiteY30" fmla="*/ 2043473 h 2541178"/>
              <a:gd name="connsiteX31" fmla="*/ 5510268 w 7325903"/>
              <a:gd name="connsiteY31" fmla="*/ 2078948 h 2541178"/>
              <a:gd name="connsiteX32" fmla="*/ 6055314 w 7325903"/>
              <a:gd name="connsiteY32" fmla="*/ 2245436 h 2541178"/>
              <a:gd name="connsiteX33" fmla="*/ 7030161 w 7325903"/>
              <a:gd name="connsiteY33" fmla="*/ 1270589 h 2541178"/>
              <a:gd name="connsiteX34" fmla="*/ 6055314 w 7325903"/>
              <a:gd name="connsiteY34" fmla="*/ 295742 h 2541178"/>
              <a:gd name="connsiteX35" fmla="*/ 4460405 w 7325903"/>
              <a:gd name="connsiteY35" fmla="*/ 295742 h 2541178"/>
              <a:gd name="connsiteX36" fmla="*/ 3915359 w 7325903"/>
              <a:gd name="connsiteY36" fmla="*/ 462231 h 2541178"/>
              <a:gd name="connsiteX37" fmla="*/ 3872364 w 7325903"/>
              <a:gd name="connsiteY37" fmla="*/ 497705 h 2541178"/>
              <a:gd name="connsiteX38" fmla="*/ 3919090 w 7325903"/>
              <a:gd name="connsiteY38" fmla="*/ 560191 h 2541178"/>
              <a:gd name="connsiteX39" fmla="*/ 4136086 w 7325903"/>
              <a:gd name="connsiteY39" fmla="*/ 1270589 h 2541178"/>
              <a:gd name="connsiteX40" fmla="*/ 3919090 w 7325903"/>
              <a:gd name="connsiteY40" fmla="*/ 1980988 h 2541178"/>
              <a:gd name="connsiteX41" fmla="*/ 3872364 w 7325903"/>
              <a:gd name="connsiteY41" fmla="*/ 2043473 h 2541178"/>
              <a:gd name="connsiteX42" fmla="*/ 3915359 w 7325903"/>
              <a:gd name="connsiteY42" fmla="*/ 2078948 h 2541178"/>
              <a:gd name="connsiteX43" fmla="*/ 4460405 w 7325903"/>
              <a:gd name="connsiteY43" fmla="*/ 2245436 h 2541178"/>
              <a:gd name="connsiteX44" fmla="*/ 5005451 w 7325903"/>
              <a:gd name="connsiteY44" fmla="*/ 2078948 h 2541178"/>
              <a:gd name="connsiteX45" fmla="*/ 5048447 w 7325903"/>
              <a:gd name="connsiteY45" fmla="*/ 2043473 h 2541178"/>
              <a:gd name="connsiteX46" fmla="*/ 5001722 w 7325903"/>
              <a:gd name="connsiteY46" fmla="*/ 1980988 h 2541178"/>
              <a:gd name="connsiteX47" fmla="*/ 4784725 w 7325903"/>
              <a:gd name="connsiteY47" fmla="*/ 1270589 h 2541178"/>
              <a:gd name="connsiteX48" fmla="*/ 5001722 w 7325903"/>
              <a:gd name="connsiteY48" fmla="*/ 560191 h 2541178"/>
              <a:gd name="connsiteX49" fmla="*/ 5048447 w 7325903"/>
              <a:gd name="connsiteY49" fmla="*/ 497706 h 2541178"/>
              <a:gd name="connsiteX50" fmla="*/ 5005451 w 7325903"/>
              <a:gd name="connsiteY50" fmla="*/ 462231 h 2541178"/>
              <a:gd name="connsiteX51" fmla="*/ 4460405 w 7325903"/>
              <a:gd name="connsiteY51" fmla="*/ 295742 h 2541178"/>
              <a:gd name="connsiteX52" fmla="*/ 2865497 w 7325903"/>
              <a:gd name="connsiteY52" fmla="*/ 295742 h 2541178"/>
              <a:gd name="connsiteX53" fmla="*/ 2320451 w 7325903"/>
              <a:gd name="connsiteY53" fmla="*/ 462231 h 2541178"/>
              <a:gd name="connsiteX54" fmla="*/ 2277456 w 7325903"/>
              <a:gd name="connsiteY54" fmla="*/ 497705 h 2541178"/>
              <a:gd name="connsiteX55" fmla="*/ 2324182 w 7325903"/>
              <a:gd name="connsiteY55" fmla="*/ 560191 h 2541178"/>
              <a:gd name="connsiteX56" fmla="*/ 2541178 w 7325903"/>
              <a:gd name="connsiteY56" fmla="*/ 1270589 h 2541178"/>
              <a:gd name="connsiteX57" fmla="*/ 2324182 w 7325903"/>
              <a:gd name="connsiteY57" fmla="*/ 1980988 h 2541178"/>
              <a:gd name="connsiteX58" fmla="*/ 2277456 w 7325903"/>
              <a:gd name="connsiteY58" fmla="*/ 2043473 h 2541178"/>
              <a:gd name="connsiteX59" fmla="*/ 2320451 w 7325903"/>
              <a:gd name="connsiteY59" fmla="*/ 2078948 h 2541178"/>
              <a:gd name="connsiteX60" fmla="*/ 2865497 w 7325903"/>
              <a:gd name="connsiteY60" fmla="*/ 2245436 h 2541178"/>
              <a:gd name="connsiteX61" fmla="*/ 3410544 w 7325903"/>
              <a:gd name="connsiteY61" fmla="*/ 2078948 h 2541178"/>
              <a:gd name="connsiteX62" fmla="*/ 3453539 w 7325903"/>
              <a:gd name="connsiteY62" fmla="*/ 2043473 h 2541178"/>
              <a:gd name="connsiteX63" fmla="*/ 3406813 w 7325903"/>
              <a:gd name="connsiteY63" fmla="*/ 1980988 h 2541178"/>
              <a:gd name="connsiteX64" fmla="*/ 3189816 w 7325903"/>
              <a:gd name="connsiteY64" fmla="*/ 1270589 h 2541178"/>
              <a:gd name="connsiteX65" fmla="*/ 3406813 w 7325903"/>
              <a:gd name="connsiteY65" fmla="*/ 560191 h 2541178"/>
              <a:gd name="connsiteX66" fmla="*/ 3453539 w 7325903"/>
              <a:gd name="connsiteY66" fmla="*/ 497705 h 2541178"/>
              <a:gd name="connsiteX67" fmla="*/ 3410544 w 7325903"/>
              <a:gd name="connsiteY67" fmla="*/ 462231 h 2541178"/>
              <a:gd name="connsiteX68" fmla="*/ 2865497 w 7325903"/>
              <a:gd name="connsiteY68" fmla="*/ 295742 h 2541178"/>
              <a:gd name="connsiteX69" fmla="*/ 1270589 w 7325903"/>
              <a:gd name="connsiteY69" fmla="*/ 295742 h 2541178"/>
              <a:gd name="connsiteX70" fmla="*/ 295742 w 7325903"/>
              <a:gd name="connsiteY70" fmla="*/ 1270589 h 2541178"/>
              <a:gd name="connsiteX71" fmla="*/ 1270589 w 7325903"/>
              <a:gd name="connsiteY71" fmla="*/ 2245436 h 2541178"/>
              <a:gd name="connsiteX72" fmla="*/ 1815635 w 7325903"/>
              <a:gd name="connsiteY72" fmla="*/ 2078948 h 2541178"/>
              <a:gd name="connsiteX73" fmla="*/ 1858631 w 7325903"/>
              <a:gd name="connsiteY73" fmla="*/ 2043473 h 2541178"/>
              <a:gd name="connsiteX74" fmla="*/ 1811905 w 7325903"/>
              <a:gd name="connsiteY74" fmla="*/ 1980988 h 2541178"/>
              <a:gd name="connsiteX75" fmla="*/ 1594908 w 7325903"/>
              <a:gd name="connsiteY75" fmla="*/ 1270589 h 2541178"/>
              <a:gd name="connsiteX76" fmla="*/ 1811905 w 7325903"/>
              <a:gd name="connsiteY76" fmla="*/ 560191 h 2541178"/>
              <a:gd name="connsiteX77" fmla="*/ 1858631 w 7325903"/>
              <a:gd name="connsiteY77" fmla="*/ 497705 h 2541178"/>
              <a:gd name="connsiteX78" fmla="*/ 1815635 w 7325903"/>
              <a:gd name="connsiteY78" fmla="*/ 462231 h 2541178"/>
              <a:gd name="connsiteX79" fmla="*/ 1270589 w 7325903"/>
              <a:gd name="connsiteY79" fmla="*/ 295742 h 2541178"/>
              <a:gd name="connsiteX80" fmla="*/ 1270589 w 7325903"/>
              <a:gd name="connsiteY80" fmla="*/ 0 h 2541178"/>
              <a:gd name="connsiteX81" fmla="*/ 1980988 w 7325903"/>
              <a:gd name="connsiteY81" fmla="*/ 216997 h 2541178"/>
              <a:gd name="connsiteX82" fmla="*/ 2068043 w 7325903"/>
              <a:gd name="connsiteY82" fmla="*/ 282096 h 2541178"/>
              <a:gd name="connsiteX83" fmla="*/ 2155099 w 7325903"/>
              <a:gd name="connsiteY83" fmla="*/ 216997 h 2541178"/>
              <a:gd name="connsiteX84" fmla="*/ 2865497 w 7325903"/>
              <a:gd name="connsiteY84" fmla="*/ 0 h 2541178"/>
              <a:gd name="connsiteX85" fmla="*/ 3575896 w 7325903"/>
              <a:gd name="connsiteY85" fmla="*/ 216997 h 2541178"/>
              <a:gd name="connsiteX86" fmla="*/ 3662951 w 7325903"/>
              <a:gd name="connsiteY86" fmla="*/ 282096 h 2541178"/>
              <a:gd name="connsiteX87" fmla="*/ 3750007 w 7325903"/>
              <a:gd name="connsiteY87" fmla="*/ 216997 h 2541178"/>
              <a:gd name="connsiteX88" fmla="*/ 4460405 w 7325903"/>
              <a:gd name="connsiteY88" fmla="*/ 0 h 2541178"/>
              <a:gd name="connsiteX89" fmla="*/ 5170804 w 7325903"/>
              <a:gd name="connsiteY89" fmla="*/ 216997 h 2541178"/>
              <a:gd name="connsiteX90" fmla="*/ 5257860 w 7325903"/>
              <a:gd name="connsiteY90" fmla="*/ 282096 h 2541178"/>
              <a:gd name="connsiteX91" fmla="*/ 5344916 w 7325903"/>
              <a:gd name="connsiteY91" fmla="*/ 216997 h 2541178"/>
              <a:gd name="connsiteX92" fmla="*/ 6055314 w 7325903"/>
              <a:gd name="connsiteY92" fmla="*/ 0 h 2541178"/>
              <a:gd name="connsiteX93" fmla="*/ 7325903 w 7325903"/>
              <a:gd name="connsiteY93" fmla="*/ 1270589 h 2541178"/>
              <a:gd name="connsiteX94" fmla="*/ 6055314 w 7325903"/>
              <a:gd name="connsiteY94" fmla="*/ 2541178 h 2541178"/>
              <a:gd name="connsiteX95" fmla="*/ 5344916 w 7325903"/>
              <a:gd name="connsiteY95" fmla="*/ 2324182 h 2541178"/>
              <a:gd name="connsiteX96" fmla="*/ 5257860 w 7325903"/>
              <a:gd name="connsiteY96" fmla="*/ 2259082 h 2541178"/>
              <a:gd name="connsiteX97" fmla="*/ 5170804 w 7325903"/>
              <a:gd name="connsiteY97" fmla="*/ 2324182 h 2541178"/>
              <a:gd name="connsiteX98" fmla="*/ 4460405 w 7325903"/>
              <a:gd name="connsiteY98" fmla="*/ 2541178 h 2541178"/>
              <a:gd name="connsiteX99" fmla="*/ 3750007 w 7325903"/>
              <a:gd name="connsiteY99" fmla="*/ 2324182 h 2541178"/>
              <a:gd name="connsiteX100" fmla="*/ 3662951 w 7325903"/>
              <a:gd name="connsiteY100" fmla="*/ 2259083 h 2541178"/>
              <a:gd name="connsiteX101" fmla="*/ 3575896 w 7325903"/>
              <a:gd name="connsiteY101" fmla="*/ 2324182 h 2541178"/>
              <a:gd name="connsiteX102" fmla="*/ 2865497 w 7325903"/>
              <a:gd name="connsiteY102" fmla="*/ 2541178 h 2541178"/>
              <a:gd name="connsiteX103" fmla="*/ 2155099 w 7325903"/>
              <a:gd name="connsiteY103" fmla="*/ 2324182 h 2541178"/>
              <a:gd name="connsiteX104" fmla="*/ 2068043 w 7325903"/>
              <a:gd name="connsiteY104" fmla="*/ 2259083 h 2541178"/>
              <a:gd name="connsiteX105" fmla="*/ 1980988 w 7325903"/>
              <a:gd name="connsiteY105" fmla="*/ 2324182 h 2541178"/>
              <a:gd name="connsiteX106" fmla="*/ 1270589 w 7325903"/>
              <a:gd name="connsiteY106" fmla="*/ 2541178 h 2541178"/>
              <a:gd name="connsiteX107" fmla="*/ 0 w 7325903"/>
              <a:gd name="connsiteY107" fmla="*/ 1270589 h 2541178"/>
              <a:gd name="connsiteX108" fmla="*/ 1270589 w 7325903"/>
              <a:gd name="connsiteY108" fmla="*/ 0 h 2541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</a:cxnLst>
            <a:rect l="l" t="t" r="r" b="b"/>
            <a:pathLst>
              <a:path w="7325903" h="2541178">
                <a:moveTo>
                  <a:pt x="5257860" y="712327"/>
                </a:moveTo>
                <a:lnTo>
                  <a:pt x="5246956" y="725543"/>
                </a:lnTo>
                <a:cubicBezTo>
                  <a:pt x="5141844" y="881130"/>
                  <a:pt x="5080467" y="1068692"/>
                  <a:pt x="5080467" y="1270589"/>
                </a:cubicBezTo>
                <a:cubicBezTo>
                  <a:pt x="5080467" y="1472487"/>
                  <a:pt x="5141844" y="1660049"/>
                  <a:pt x="5246956" y="1815635"/>
                </a:cubicBezTo>
                <a:lnTo>
                  <a:pt x="5257860" y="1828851"/>
                </a:lnTo>
                <a:lnTo>
                  <a:pt x="5268764" y="1815635"/>
                </a:lnTo>
                <a:cubicBezTo>
                  <a:pt x="5373876" y="1660049"/>
                  <a:pt x="5435252" y="1472487"/>
                  <a:pt x="5435252" y="1270589"/>
                </a:cubicBezTo>
                <a:cubicBezTo>
                  <a:pt x="5435252" y="1068692"/>
                  <a:pt x="5373876" y="881130"/>
                  <a:pt x="5268764" y="725543"/>
                </a:cubicBezTo>
                <a:close/>
                <a:moveTo>
                  <a:pt x="3662951" y="712327"/>
                </a:moveTo>
                <a:lnTo>
                  <a:pt x="3652047" y="725543"/>
                </a:lnTo>
                <a:cubicBezTo>
                  <a:pt x="3546935" y="881130"/>
                  <a:pt x="3485558" y="1068692"/>
                  <a:pt x="3485558" y="1270589"/>
                </a:cubicBezTo>
                <a:cubicBezTo>
                  <a:pt x="3485558" y="1472487"/>
                  <a:pt x="3546935" y="1660049"/>
                  <a:pt x="3652047" y="1815635"/>
                </a:cubicBezTo>
                <a:lnTo>
                  <a:pt x="3662951" y="1828852"/>
                </a:lnTo>
                <a:lnTo>
                  <a:pt x="3673856" y="1815635"/>
                </a:lnTo>
                <a:cubicBezTo>
                  <a:pt x="3778968" y="1660049"/>
                  <a:pt x="3840344" y="1472487"/>
                  <a:pt x="3840344" y="1270589"/>
                </a:cubicBezTo>
                <a:cubicBezTo>
                  <a:pt x="3840344" y="1068692"/>
                  <a:pt x="3778968" y="881130"/>
                  <a:pt x="3673856" y="725543"/>
                </a:cubicBezTo>
                <a:close/>
                <a:moveTo>
                  <a:pt x="2068043" y="712327"/>
                </a:moveTo>
                <a:lnTo>
                  <a:pt x="2057139" y="725543"/>
                </a:lnTo>
                <a:cubicBezTo>
                  <a:pt x="1952027" y="881130"/>
                  <a:pt x="1890650" y="1068692"/>
                  <a:pt x="1890650" y="1270589"/>
                </a:cubicBezTo>
                <a:cubicBezTo>
                  <a:pt x="1890650" y="1472487"/>
                  <a:pt x="1952027" y="1660049"/>
                  <a:pt x="2057139" y="1815635"/>
                </a:cubicBezTo>
                <a:lnTo>
                  <a:pt x="2068043" y="1828852"/>
                </a:lnTo>
                <a:lnTo>
                  <a:pt x="2078948" y="1815635"/>
                </a:lnTo>
                <a:cubicBezTo>
                  <a:pt x="2184060" y="1660049"/>
                  <a:pt x="2245436" y="1472487"/>
                  <a:pt x="2245436" y="1270589"/>
                </a:cubicBezTo>
                <a:cubicBezTo>
                  <a:pt x="2245436" y="1068692"/>
                  <a:pt x="2184060" y="881130"/>
                  <a:pt x="2078948" y="725543"/>
                </a:cubicBezTo>
                <a:close/>
                <a:moveTo>
                  <a:pt x="6055314" y="295742"/>
                </a:moveTo>
                <a:cubicBezTo>
                  <a:pt x="5853417" y="295742"/>
                  <a:pt x="5665855" y="357119"/>
                  <a:pt x="5510268" y="462231"/>
                </a:cubicBezTo>
                <a:lnTo>
                  <a:pt x="5467272" y="497706"/>
                </a:lnTo>
                <a:lnTo>
                  <a:pt x="5513998" y="560191"/>
                </a:lnTo>
                <a:cubicBezTo>
                  <a:pt x="5650998" y="762978"/>
                  <a:pt x="5730994" y="1007442"/>
                  <a:pt x="5730994" y="1270589"/>
                </a:cubicBezTo>
                <a:cubicBezTo>
                  <a:pt x="5730994" y="1533737"/>
                  <a:pt x="5650998" y="1778200"/>
                  <a:pt x="5513998" y="1980988"/>
                </a:cubicBezTo>
                <a:lnTo>
                  <a:pt x="5467272" y="2043473"/>
                </a:lnTo>
                <a:lnTo>
                  <a:pt x="5510268" y="2078948"/>
                </a:lnTo>
                <a:cubicBezTo>
                  <a:pt x="5665855" y="2184060"/>
                  <a:pt x="5853417" y="2245436"/>
                  <a:pt x="6055314" y="2245436"/>
                </a:cubicBezTo>
                <a:cubicBezTo>
                  <a:pt x="6593707" y="2245436"/>
                  <a:pt x="7030161" y="1808982"/>
                  <a:pt x="7030161" y="1270589"/>
                </a:cubicBezTo>
                <a:cubicBezTo>
                  <a:pt x="7030161" y="732196"/>
                  <a:pt x="6593707" y="295742"/>
                  <a:pt x="6055314" y="295742"/>
                </a:cubicBezTo>
                <a:close/>
                <a:moveTo>
                  <a:pt x="4460405" y="295742"/>
                </a:moveTo>
                <a:cubicBezTo>
                  <a:pt x="4258508" y="295742"/>
                  <a:pt x="4070946" y="357119"/>
                  <a:pt x="3915359" y="462231"/>
                </a:cubicBezTo>
                <a:lnTo>
                  <a:pt x="3872364" y="497705"/>
                </a:lnTo>
                <a:lnTo>
                  <a:pt x="3919090" y="560191"/>
                </a:lnTo>
                <a:cubicBezTo>
                  <a:pt x="4056090" y="762978"/>
                  <a:pt x="4136086" y="1007442"/>
                  <a:pt x="4136086" y="1270589"/>
                </a:cubicBezTo>
                <a:cubicBezTo>
                  <a:pt x="4136086" y="1533737"/>
                  <a:pt x="4056090" y="1778200"/>
                  <a:pt x="3919090" y="1980988"/>
                </a:cubicBezTo>
                <a:lnTo>
                  <a:pt x="3872364" y="2043473"/>
                </a:lnTo>
                <a:lnTo>
                  <a:pt x="3915359" y="2078948"/>
                </a:lnTo>
                <a:cubicBezTo>
                  <a:pt x="4070946" y="2184060"/>
                  <a:pt x="4258508" y="2245436"/>
                  <a:pt x="4460405" y="2245436"/>
                </a:cubicBezTo>
                <a:cubicBezTo>
                  <a:pt x="4662303" y="2245436"/>
                  <a:pt x="4849865" y="2184060"/>
                  <a:pt x="5005451" y="2078948"/>
                </a:cubicBezTo>
                <a:lnTo>
                  <a:pt x="5048447" y="2043473"/>
                </a:lnTo>
                <a:lnTo>
                  <a:pt x="5001722" y="1980988"/>
                </a:lnTo>
                <a:cubicBezTo>
                  <a:pt x="4864721" y="1778200"/>
                  <a:pt x="4784725" y="1533737"/>
                  <a:pt x="4784725" y="1270589"/>
                </a:cubicBezTo>
                <a:cubicBezTo>
                  <a:pt x="4784725" y="1007442"/>
                  <a:pt x="4864721" y="762978"/>
                  <a:pt x="5001722" y="560191"/>
                </a:cubicBezTo>
                <a:lnTo>
                  <a:pt x="5048447" y="497706"/>
                </a:lnTo>
                <a:lnTo>
                  <a:pt x="5005451" y="462231"/>
                </a:lnTo>
                <a:cubicBezTo>
                  <a:pt x="4849865" y="357119"/>
                  <a:pt x="4662303" y="295742"/>
                  <a:pt x="4460405" y="295742"/>
                </a:cubicBezTo>
                <a:close/>
                <a:moveTo>
                  <a:pt x="2865497" y="295742"/>
                </a:moveTo>
                <a:cubicBezTo>
                  <a:pt x="2663600" y="295742"/>
                  <a:pt x="2476038" y="357119"/>
                  <a:pt x="2320451" y="462231"/>
                </a:cubicBezTo>
                <a:lnTo>
                  <a:pt x="2277456" y="497705"/>
                </a:lnTo>
                <a:lnTo>
                  <a:pt x="2324182" y="560191"/>
                </a:lnTo>
                <a:cubicBezTo>
                  <a:pt x="2461182" y="762978"/>
                  <a:pt x="2541178" y="1007442"/>
                  <a:pt x="2541178" y="1270589"/>
                </a:cubicBezTo>
                <a:cubicBezTo>
                  <a:pt x="2541178" y="1533737"/>
                  <a:pt x="2461182" y="1778200"/>
                  <a:pt x="2324182" y="1980988"/>
                </a:cubicBezTo>
                <a:lnTo>
                  <a:pt x="2277456" y="2043473"/>
                </a:lnTo>
                <a:lnTo>
                  <a:pt x="2320451" y="2078948"/>
                </a:lnTo>
                <a:cubicBezTo>
                  <a:pt x="2476038" y="2184060"/>
                  <a:pt x="2663600" y="2245436"/>
                  <a:pt x="2865497" y="2245436"/>
                </a:cubicBezTo>
                <a:cubicBezTo>
                  <a:pt x="3067395" y="2245436"/>
                  <a:pt x="3254957" y="2184060"/>
                  <a:pt x="3410544" y="2078948"/>
                </a:cubicBezTo>
                <a:lnTo>
                  <a:pt x="3453539" y="2043473"/>
                </a:lnTo>
                <a:lnTo>
                  <a:pt x="3406813" y="1980988"/>
                </a:lnTo>
                <a:cubicBezTo>
                  <a:pt x="3269813" y="1778200"/>
                  <a:pt x="3189816" y="1533737"/>
                  <a:pt x="3189816" y="1270589"/>
                </a:cubicBezTo>
                <a:cubicBezTo>
                  <a:pt x="3189816" y="1007442"/>
                  <a:pt x="3269813" y="762978"/>
                  <a:pt x="3406813" y="560191"/>
                </a:cubicBezTo>
                <a:lnTo>
                  <a:pt x="3453539" y="497705"/>
                </a:lnTo>
                <a:lnTo>
                  <a:pt x="3410544" y="462231"/>
                </a:lnTo>
                <a:cubicBezTo>
                  <a:pt x="3254957" y="357119"/>
                  <a:pt x="3067395" y="295742"/>
                  <a:pt x="2865497" y="295742"/>
                </a:cubicBezTo>
                <a:close/>
                <a:moveTo>
                  <a:pt x="1270589" y="295742"/>
                </a:moveTo>
                <a:cubicBezTo>
                  <a:pt x="732196" y="295742"/>
                  <a:pt x="295742" y="732196"/>
                  <a:pt x="295742" y="1270589"/>
                </a:cubicBezTo>
                <a:cubicBezTo>
                  <a:pt x="295742" y="1808982"/>
                  <a:pt x="732196" y="2245436"/>
                  <a:pt x="1270589" y="2245436"/>
                </a:cubicBezTo>
                <a:cubicBezTo>
                  <a:pt x="1472487" y="2245436"/>
                  <a:pt x="1660049" y="2184060"/>
                  <a:pt x="1815635" y="2078948"/>
                </a:cubicBezTo>
                <a:lnTo>
                  <a:pt x="1858631" y="2043473"/>
                </a:lnTo>
                <a:lnTo>
                  <a:pt x="1811905" y="1980988"/>
                </a:lnTo>
                <a:cubicBezTo>
                  <a:pt x="1674904" y="1778200"/>
                  <a:pt x="1594908" y="1533737"/>
                  <a:pt x="1594908" y="1270589"/>
                </a:cubicBezTo>
                <a:cubicBezTo>
                  <a:pt x="1594908" y="1007442"/>
                  <a:pt x="1674904" y="762978"/>
                  <a:pt x="1811905" y="560191"/>
                </a:cubicBezTo>
                <a:lnTo>
                  <a:pt x="1858631" y="497705"/>
                </a:lnTo>
                <a:lnTo>
                  <a:pt x="1815635" y="462231"/>
                </a:lnTo>
                <a:cubicBezTo>
                  <a:pt x="1660049" y="357119"/>
                  <a:pt x="1472487" y="295742"/>
                  <a:pt x="1270589" y="295742"/>
                </a:cubicBezTo>
                <a:close/>
                <a:moveTo>
                  <a:pt x="1270589" y="0"/>
                </a:moveTo>
                <a:cubicBezTo>
                  <a:pt x="1533737" y="0"/>
                  <a:pt x="1778200" y="79996"/>
                  <a:pt x="1980988" y="216997"/>
                </a:cubicBezTo>
                <a:lnTo>
                  <a:pt x="2068043" y="282096"/>
                </a:lnTo>
                <a:lnTo>
                  <a:pt x="2155099" y="216997"/>
                </a:lnTo>
                <a:cubicBezTo>
                  <a:pt x="2357886" y="79996"/>
                  <a:pt x="2602350" y="0"/>
                  <a:pt x="2865497" y="0"/>
                </a:cubicBezTo>
                <a:cubicBezTo>
                  <a:pt x="3128645" y="0"/>
                  <a:pt x="3373109" y="79996"/>
                  <a:pt x="3575896" y="216997"/>
                </a:cubicBezTo>
                <a:lnTo>
                  <a:pt x="3662951" y="282096"/>
                </a:lnTo>
                <a:lnTo>
                  <a:pt x="3750007" y="216997"/>
                </a:lnTo>
                <a:cubicBezTo>
                  <a:pt x="3952794" y="79996"/>
                  <a:pt x="4197258" y="0"/>
                  <a:pt x="4460405" y="0"/>
                </a:cubicBezTo>
                <a:cubicBezTo>
                  <a:pt x="4723553" y="0"/>
                  <a:pt x="4968016" y="79996"/>
                  <a:pt x="5170804" y="216997"/>
                </a:cubicBezTo>
                <a:lnTo>
                  <a:pt x="5257860" y="282096"/>
                </a:lnTo>
                <a:lnTo>
                  <a:pt x="5344916" y="216997"/>
                </a:lnTo>
                <a:cubicBezTo>
                  <a:pt x="5547703" y="79996"/>
                  <a:pt x="5792167" y="0"/>
                  <a:pt x="6055314" y="0"/>
                </a:cubicBezTo>
                <a:cubicBezTo>
                  <a:pt x="6757041" y="0"/>
                  <a:pt x="7325903" y="568862"/>
                  <a:pt x="7325903" y="1270589"/>
                </a:cubicBezTo>
                <a:cubicBezTo>
                  <a:pt x="7325903" y="1972316"/>
                  <a:pt x="6757041" y="2541178"/>
                  <a:pt x="6055314" y="2541178"/>
                </a:cubicBezTo>
                <a:cubicBezTo>
                  <a:pt x="5792167" y="2541178"/>
                  <a:pt x="5547703" y="2461182"/>
                  <a:pt x="5344916" y="2324182"/>
                </a:cubicBezTo>
                <a:lnTo>
                  <a:pt x="5257860" y="2259082"/>
                </a:lnTo>
                <a:lnTo>
                  <a:pt x="5170804" y="2324182"/>
                </a:lnTo>
                <a:cubicBezTo>
                  <a:pt x="4968016" y="2461182"/>
                  <a:pt x="4723553" y="2541178"/>
                  <a:pt x="4460405" y="2541178"/>
                </a:cubicBezTo>
                <a:cubicBezTo>
                  <a:pt x="4197258" y="2541178"/>
                  <a:pt x="3952794" y="2461182"/>
                  <a:pt x="3750007" y="2324182"/>
                </a:cubicBezTo>
                <a:lnTo>
                  <a:pt x="3662951" y="2259083"/>
                </a:lnTo>
                <a:lnTo>
                  <a:pt x="3575896" y="2324182"/>
                </a:lnTo>
                <a:cubicBezTo>
                  <a:pt x="3373109" y="2461182"/>
                  <a:pt x="3128645" y="2541178"/>
                  <a:pt x="2865497" y="2541178"/>
                </a:cubicBezTo>
                <a:cubicBezTo>
                  <a:pt x="2602350" y="2541178"/>
                  <a:pt x="2357886" y="2461182"/>
                  <a:pt x="2155099" y="2324182"/>
                </a:cubicBezTo>
                <a:lnTo>
                  <a:pt x="2068043" y="2259083"/>
                </a:lnTo>
                <a:lnTo>
                  <a:pt x="1980988" y="2324182"/>
                </a:lnTo>
                <a:cubicBezTo>
                  <a:pt x="1778200" y="2461182"/>
                  <a:pt x="1533737" y="2541178"/>
                  <a:pt x="1270589" y="2541178"/>
                </a:cubicBezTo>
                <a:cubicBezTo>
                  <a:pt x="568862" y="2541178"/>
                  <a:pt x="0" y="1972316"/>
                  <a:pt x="0" y="1270589"/>
                </a:cubicBezTo>
                <a:cubicBezTo>
                  <a:pt x="0" y="568862"/>
                  <a:pt x="568862" y="0"/>
                  <a:pt x="1270589" y="0"/>
                </a:cubicBezTo>
                <a:close/>
              </a:path>
            </a:pathLst>
          </a:custGeom>
          <a:solidFill>
            <a:schemeClr val="tx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5215037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+ Text (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8128000" y="0"/>
            <a:ext cx="4064000" cy="685799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324" y="300396"/>
            <a:ext cx="7231247" cy="537804"/>
          </a:xfrm>
        </p:spPr>
        <p:txBody>
          <a:bodyPr/>
          <a:lstStyle/>
          <a:p>
            <a:r>
              <a:rPr lang="de-DE" noProof="0"/>
              <a:t>Action-Title</a:t>
            </a:r>
            <a:br>
              <a:rPr lang="de-DE" noProof="0"/>
            </a:br>
            <a:r>
              <a:rPr lang="de-DE" noProof="0"/>
              <a:t>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97281" y="70998"/>
            <a:ext cx="6829292" cy="158400"/>
          </a:xfrm>
        </p:spPr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F3245D0-7355-7C44-8628-11C32DD23CF8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695323" y="1089025"/>
            <a:ext cx="7231247" cy="5616574"/>
          </a:xfrm>
        </p:spPr>
        <p:txBody>
          <a:bodyPr/>
          <a:lstStyle>
            <a:lvl1pPr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  <a:lvl2pPr marL="216000" indent="-2160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 marL="432000" indent="-216000"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 marL="648000" indent="-216000"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 marL="864000" indent="-216000"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–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322443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(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3182342"/>
            <a:ext cx="9711992" cy="1415772"/>
          </a:xfrm>
        </p:spPr>
        <p:txBody>
          <a:bodyPr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6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Titel des </a:t>
            </a:r>
            <a:r>
              <a:rPr lang="de-DE" noProof="0" err="1"/>
              <a:t>Kapiteltrenners</a:t>
            </a:r>
            <a:r>
              <a:rPr lang="de-DE" noProof="0"/>
              <a:t> in maximal drei Zeil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4797247"/>
            <a:ext cx="9711992" cy="286617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defRPr sz="1800" b="0" i="0">
                <a:solidFill>
                  <a:schemeClr val="tx1"/>
                </a:solidFill>
                <a:latin typeface="Audi Type Extended Normal" panose="020B0505040200000003" pitchFamily="34" charset="0"/>
                <a:ea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Untertitel und/oder erklärender Text zum Kapitel</a:t>
            </a:r>
          </a:p>
        </p:txBody>
      </p:sp>
    </p:spTree>
    <p:extLst>
      <p:ext uri="{BB962C8B-B14F-4D97-AF65-F5344CB8AC3E}">
        <p14:creationId xmlns:p14="http://schemas.microsoft.com/office/powerpoint/2010/main" val="110066327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ullet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UDI AG   Business Review 16.05.2023</a:t>
            </a:r>
            <a:endParaRPr lang="de-DE" noProof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695324" y="1089025"/>
            <a:ext cx="11341101" cy="5616574"/>
          </a:xfrm>
        </p:spPr>
        <p:txBody>
          <a:bodyPr/>
          <a:lstStyle>
            <a:lvl1pPr marL="216000" indent="-2160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  <a:lvl2pPr marL="432000" indent="-216000"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 marL="648000" indent="-216000"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 marL="864000" indent="-216000"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–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 marL="216000" indent="-2160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869100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1 (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F3F0CCF8-3714-8147-B6A4-7BD071F59A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5845" y="3297957"/>
            <a:ext cx="9232900" cy="852805"/>
          </a:xfrm>
        </p:spPr>
        <p:txBody>
          <a:bodyPr anchor="ctr"/>
          <a:lstStyle>
            <a:lvl1pPr algn="r">
              <a:defRPr sz="6800" b="1" i="0">
                <a:solidFill>
                  <a:schemeClr val="tx1"/>
                </a:solidFill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Vielen Dank!</a:t>
            </a:r>
          </a:p>
        </p:txBody>
      </p:sp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2 (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 12">
            <a:extLst>
              <a:ext uri="{FF2B5EF4-FFF2-40B4-BE49-F238E27FC236}">
                <a16:creationId xmlns:a16="http://schemas.microsoft.com/office/drawing/2014/main" id="{08F5C035-7531-5C46-9797-C0AAE64DA486}"/>
              </a:ext>
            </a:extLst>
          </p:cNvPr>
          <p:cNvSpPr/>
          <p:nvPr userDrawn="1"/>
        </p:nvSpPr>
        <p:spPr>
          <a:xfrm>
            <a:off x="1" y="0"/>
            <a:ext cx="12192001" cy="6858001"/>
          </a:xfrm>
          <a:custGeom>
            <a:avLst/>
            <a:gdLst>
              <a:gd name="connsiteX0" fmla="*/ 11850404 w 12192001"/>
              <a:gd name="connsiteY0" fmla="*/ 6343657 h 6858001"/>
              <a:gd name="connsiteX1" fmla="*/ 12192001 w 12192001"/>
              <a:gd name="connsiteY1" fmla="*/ 6343657 h 6858001"/>
              <a:gd name="connsiteX2" fmla="*/ 12192001 w 12192001"/>
              <a:gd name="connsiteY2" fmla="*/ 6858001 h 6858001"/>
              <a:gd name="connsiteX3" fmla="*/ 11850404 w 12192001"/>
              <a:gd name="connsiteY3" fmla="*/ 6858001 h 6858001"/>
              <a:gd name="connsiteX4" fmla="*/ 4760848 w 12192001"/>
              <a:gd name="connsiteY4" fmla="*/ 6104184 h 6858001"/>
              <a:gd name="connsiteX5" fmla="*/ 4444496 w 12192001"/>
              <a:gd name="connsiteY5" fmla="*/ 6116997 h 6858001"/>
              <a:gd name="connsiteX6" fmla="*/ 4228881 w 12192001"/>
              <a:gd name="connsiteY6" fmla="*/ 6158971 h 6858001"/>
              <a:gd name="connsiteX7" fmla="*/ 4105608 w 12192001"/>
              <a:gd name="connsiteY7" fmla="*/ 6234524 h 6858001"/>
              <a:gd name="connsiteX8" fmla="*/ 4066285 w 12192001"/>
              <a:gd name="connsiteY8" fmla="*/ 6347192 h 6858001"/>
              <a:gd name="connsiteX9" fmla="*/ 4086609 w 12192001"/>
              <a:gd name="connsiteY9" fmla="*/ 6432908 h 6858001"/>
              <a:gd name="connsiteX10" fmla="*/ 4150675 w 12192001"/>
              <a:gd name="connsiteY10" fmla="*/ 6504485 h 6858001"/>
              <a:gd name="connsiteX11" fmla="*/ 4263343 w 12192001"/>
              <a:gd name="connsiteY11" fmla="*/ 6553528 h 6858001"/>
              <a:gd name="connsiteX12" fmla="*/ 4428590 w 12192001"/>
              <a:gd name="connsiteY12" fmla="*/ 6571643 h 6858001"/>
              <a:gd name="connsiteX13" fmla="*/ 4621669 w 12192001"/>
              <a:gd name="connsiteY13" fmla="*/ 6559272 h 6858001"/>
              <a:gd name="connsiteX14" fmla="*/ 4786917 w 12192001"/>
              <a:gd name="connsiteY14" fmla="*/ 6524809 h 6858001"/>
              <a:gd name="connsiteX15" fmla="*/ 4928302 w 12192001"/>
              <a:gd name="connsiteY15" fmla="*/ 6472231 h 6858001"/>
              <a:gd name="connsiteX16" fmla="*/ 5050690 w 12192001"/>
              <a:gd name="connsiteY16" fmla="*/ 6404630 h 6858001"/>
              <a:gd name="connsiteX17" fmla="*/ 5050690 w 12192001"/>
              <a:gd name="connsiteY17" fmla="*/ 6104184 h 6858001"/>
              <a:gd name="connsiteX18" fmla="*/ 7588077 w 12192001"/>
              <a:gd name="connsiteY18" fmla="*/ 4974857 h 6858001"/>
              <a:gd name="connsiteX19" fmla="*/ 7829318 w 12192001"/>
              <a:gd name="connsiteY19" fmla="*/ 4989879 h 6858001"/>
              <a:gd name="connsiteX20" fmla="*/ 8050677 w 12192001"/>
              <a:gd name="connsiteY20" fmla="*/ 5040690 h 6858001"/>
              <a:gd name="connsiteX21" fmla="*/ 8241107 w 12192001"/>
              <a:gd name="connsiteY21" fmla="*/ 5137010 h 6858001"/>
              <a:gd name="connsiteX22" fmla="*/ 8390005 w 12192001"/>
              <a:gd name="connsiteY22" fmla="*/ 5289001 h 6858001"/>
              <a:gd name="connsiteX23" fmla="*/ 8487209 w 12192001"/>
              <a:gd name="connsiteY23" fmla="*/ 5505941 h 6858001"/>
              <a:gd name="connsiteX24" fmla="*/ 8522113 w 12192001"/>
              <a:gd name="connsiteY24" fmla="*/ 5796667 h 6858001"/>
              <a:gd name="connsiteX25" fmla="*/ 8522113 w 12192001"/>
              <a:gd name="connsiteY25" fmla="*/ 6858001 h 6858001"/>
              <a:gd name="connsiteX26" fmla="*/ 7953916 w 12192001"/>
              <a:gd name="connsiteY26" fmla="*/ 6858001 h 6858001"/>
              <a:gd name="connsiteX27" fmla="*/ 7953916 w 12192001"/>
              <a:gd name="connsiteY27" fmla="*/ 5869128 h 6858001"/>
              <a:gd name="connsiteX28" fmla="*/ 7926522 w 12192001"/>
              <a:gd name="connsiteY28" fmla="*/ 5666327 h 6858001"/>
              <a:gd name="connsiteX29" fmla="*/ 7840364 w 12192001"/>
              <a:gd name="connsiteY29" fmla="*/ 5523173 h 6858001"/>
              <a:gd name="connsiteX30" fmla="*/ 7689699 w 12192001"/>
              <a:gd name="connsiteY30" fmla="*/ 5437899 h 6858001"/>
              <a:gd name="connsiteX31" fmla="*/ 7468782 w 12192001"/>
              <a:gd name="connsiteY31" fmla="*/ 5409621 h 6858001"/>
              <a:gd name="connsiteX32" fmla="*/ 7278795 w 12192001"/>
              <a:gd name="connsiteY32" fmla="*/ 5422434 h 6858001"/>
              <a:gd name="connsiteX33" fmla="*/ 7113550 w 12192001"/>
              <a:gd name="connsiteY33" fmla="*/ 5456456 h 6858001"/>
              <a:gd name="connsiteX34" fmla="*/ 6969511 w 12192001"/>
              <a:gd name="connsiteY34" fmla="*/ 5505941 h 6858001"/>
              <a:gd name="connsiteX35" fmla="*/ 6842263 w 12192001"/>
              <a:gd name="connsiteY35" fmla="*/ 5565147 h 6858001"/>
              <a:gd name="connsiteX36" fmla="*/ 6842263 w 12192001"/>
              <a:gd name="connsiteY36" fmla="*/ 6858001 h 6858001"/>
              <a:gd name="connsiteX37" fmla="*/ 6274065 w 12192001"/>
              <a:gd name="connsiteY37" fmla="*/ 6858001 h 6858001"/>
              <a:gd name="connsiteX38" fmla="*/ 6274065 w 12192001"/>
              <a:gd name="connsiteY38" fmla="*/ 5033179 h 6858001"/>
              <a:gd name="connsiteX39" fmla="*/ 6770686 w 12192001"/>
              <a:gd name="connsiteY39" fmla="*/ 5033179 h 6858001"/>
              <a:gd name="connsiteX40" fmla="*/ 6810451 w 12192001"/>
              <a:gd name="connsiteY40" fmla="*/ 5246143 h 6858001"/>
              <a:gd name="connsiteX41" fmla="*/ 6966860 w 12192001"/>
              <a:gd name="connsiteY41" fmla="*/ 5132150 h 6858001"/>
              <a:gd name="connsiteX42" fmla="*/ 7150664 w 12192001"/>
              <a:gd name="connsiteY42" fmla="*/ 5046876 h 6858001"/>
              <a:gd name="connsiteX43" fmla="*/ 7358766 w 12192001"/>
              <a:gd name="connsiteY43" fmla="*/ 4993414 h 6858001"/>
              <a:gd name="connsiteX44" fmla="*/ 7588077 w 12192001"/>
              <a:gd name="connsiteY44" fmla="*/ 4974857 h 6858001"/>
              <a:gd name="connsiteX45" fmla="*/ 4529326 w 12192001"/>
              <a:gd name="connsiteY45" fmla="*/ 4974857 h 6858001"/>
              <a:gd name="connsiteX46" fmla="*/ 4985741 w 12192001"/>
              <a:gd name="connsiteY46" fmla="*/ 5017273 h 6858001"/>
              <a:gd name="connsiteX47" fmla="*/ 5323302 w 12192001"/>
              <a:gd name="connsiteY47" fmla="*/ 5151591 h 6858001"/>
              <a:gd name="connsiteX48" fmla="*/ 5532730 w 12192001"/>
              <a:gd name="connsiteY48" fmla="*/ 5388413 h 6858001"/>
              <a:gd name="connsiteX49" fmla="*/ 5604748 w 12192001"/>
              <a:gd name="connsiteY49" fmla="*/ 5738345 h 6858001"/>
              <a:gd name="connsiteX50" fmla="*/ 5604748 w 12192001"/>
              <a:gd name="connsiteY50" fmla="*/ 6858001 h 6858001"/>
              <a:gd name="connsiteX51" fmla="*/ 5109968 w 12192001"/>
              <a:gd name="connsiteY51" fmla="*/ 6858001 h 6858001"/>
              <a:gd name="connsiteX52" fmla="*/ 5079851 w 12192001"/>
              <a:gd name="connsiteY52" fmla="*/ 6701542 h 6858001"/>
              <a:gd name="connsiteX53" fmla="*/ 4926093 w 12192001"/>
              <a:gd name="connsiteY53" fmla="*/ 6805815 h 6858001"/>
              <a:gd name="connsiteX54" fmla="*/ 4802339 w 12192001"/>
              <a:gd name="connsiteY54" fmla="*/ 6858001 h 6858001"/>
              <a:gd name="connsiteX55" fmla="*/ 3808692 w 12192001"/>
              <a:gd name="connsiteY55" fmla="*/ 6858001 h 6858001"/>
              <a:gd name="connsiteX56" fmla="*/ 3702214 w 12192001"/>
              <a:gd name="connsiteY56" fmla="*/ 6798304 h 6858001"/>
              <a:gd name="connsiteX57" fmla="*/ 3542712 w 12192001"/>
              <a:gd name="connsiteY57" fmla="*/ 6616269 h 6858001"/>
              <a:gd name="connsiteX58" fmla="*/ 3487483 w 12192001"/>
              <a:gd name="connsiteY58" fmla="*/ 6368400 h 6858001"/>
              <a:gd name="connsiteX59" fmla="*/ 3527690 w 12192001"/>
              <a:gd name="connsiteY59" fmla="*/ 6163389 h 6858001"/>
              <a:gd name="connsiteX60" fmla="*/ 3642566 w 12192001"/>
              <a:gd name="connsiteY60" fmla="*/ 6007864 h 6858001"/>
              <a:gd name="connsiteX61" fmla="*/ 3823277 w 12192001"/>
              <a:gd name="connsiteY61" fmla="*/ 5896080 h 6858001"/>
              <a:gd name="connsiteX62" fmla="*/ 4060983 w 12192001"/>
              <a:gd name="connsiteY62" fmla="*/ 5822736 h 6858001"/>
              <a:gd name="connsiteX63" fmla="*/ 4347292 w 12192001"/>
              <a:gd name="connsiteY63" fmla="*/ 5782971 h 6858001"/>
              <a:gd name="connsiteX64" fmla="*/ 4674250 w 12192001"/>
              <a:gd name="connsiteY64" fmla="*/ 5771041 h 6858001"/>
              <a:gd name="connsiteX65" fmla="*/ 4812542 w 12192001"/>
              <a:gd name="connsiteY65" fmla="*/ 5772808 h 6858001"/>
              <a:gd name="connsiteX66" fmla="*/ 4937582 w 12192001"/>
              <a:gd name="connsiteY66" fmla="*/ 5777227 h 6858001"/>
              <a:gd name="connsiteX67" fmla="*/ 5050690 w 12192001"/>
              <a:gd name="connsiteY67" fmla="*/ 5782529 h 6858001"/>
              <a:gd name="connsiteX68" fmla="*/ 5050690 w 12192001"/>
              <a:gd name="connsiteY68" fmla="*/ 5778994 h 6858001"/>
              <a:gd name="connsiteX69" fmla="*/ 5013576 w 12192001"/>
              <a:gd name="connsiteY69" fmla="*/ 5610656 h 6858001"/>
              <a:gd name="connsiteX70" fmla="*/ 4903559 w 12192001"/>
              <a:gd name="connsiteY70" fmla="*/ 5494895 h 6858001"/>
              <a:gd name="connsiteX71" fmla="*/ 4722410 w 12192001"/>
              <a:gd name="connsiteY71" fmla="*/ 5427736 h 6858001"/>
              <a:gd name="connsiteX72" fmla="*/ 4471889 w 12192001"/>
              <a:gd name="connsiteY72" fmla="*/ 5406087 h 6858001"/>
              <a:gd name="connsiteX73" fmla="*/ 4245671 w 12192001"/>
              <a:gd name="connsiteY73" fmla="*/ 5417574 h 6858001"/>
              <a:gd name="connsiteX74" fmla="*/ 4039333 w 12192001"/>
              <a:gd name="connsiteY74" fmla="*/ 5449386 h 6858001"/>
              <a:gd name="connsiteX75" fmla="*/ 3851995 w 12192001"/>
              <a:gd name="connsiteY75" fmla="*/ 5497546 h 6858001"/>
              <a:gd name="connsiteX76" fmla="*/ 3682773 w 12192001"/>
              <a:gd name="connsiteY76" fmla="*/ 5558077 h 6858001"/>
              <a:gd name="connsiteX77" fmla="*/ 3682773 w 12192001"/>
              <a:gd name="connsiteY77" fmla="*/ 5152474 h 6858001"/>
              <a:gd name="connsiteX78" fmla="*/ 3855972 w 12192001"/>
              <a:gd name="connsiteY78" fmla="*/ 5080014 h 6858001"/>
              <a:gd name="connsiteX79" fmla="*/ 4058332 w 12192001"/>
              <a:gd name="connsiteY79" fmla="*/ 5023901 h 6858001"/>
              <a:gd name="connsiteX80" fmla="*/ 4284553 w 12192001"/>
              <a:gd name="connsiteY80" fmla="*/ 4987670 h 6858001"/>
              <a:gd name="connsiteX81" fmla="*/ 4529326 w 12192001"/>
              <a:gd name="connsiteY81" fmla="*/ 4974857 h 6858001"/>
              <a:gd name="connsiteX82" fmla="*/ 927332 w 12192001"/>
              <a:gd name="connsiteY82" fmla="*/ 4696502 h 6858001"/>
              <a:gd name="connsiteX83" fmla="*/ 927332 w 12192001"/>
              <a:gd name="connsiteY83" fmla="*/ 6462069 h 6858001"/>
              <a:gd name="connsiteX84" fmla="*/ 1502599 w 12192001"/>
              <a:gd name="connsiteY84" fmla="*/ 6462069 h 6858001"/>
              <a:gd name="connsiteX85" fmla="*/ 1833091 w 12192001"/>
              <a:gd name="connsiteY85" fmla="*/ 6432921 h 6858001"/>
              <a:gd name="connsiteX86" fmla="*/ 2086703 w 12192001"/>
              <a:gd name="connsiteY86" fmla="*/ 6349015 h 6858001"/>
              <a:gd name="connsiteX87" fmla="*/ 2271390 w 12192001"/>
              <a:gd name="connsiteY87" fmla="*/ 6216091 h 6858001"/>
              <a:gd name="connsiteX88" fmla="*/ 2394219 w 12192001"/>
              <a:gd name="connsiteY88" fmla="*/ 6039448 h 6858001"/>
              <a:gd name="connsiteX89" fmla="*/ 2462261 w 12192001"/>
              <a:gd name="connsiteY89" fmla="*/ 5825262 h 6858001"/>
              <a:gd name="connsiteX90" fmla="*/ 2483469 w 12192001"/>
              <a:gd name="connsiteY90" fmla="*/ 5578844 h 6858001"/>
              <a:gd name="connsiteX91" fmla="*/ 2462261 w 12192001"/>
              <a:gd name="connsiteY91" fmla="*/ 5332425 h 6858001"/>
              <a:gd name="connsiteX92" fmla="*/ 2394219 w 12192001"/>
              <a:gd name="connsiteY92" fmla="*/ 5118681 h 6858001"/>
              <a:gd name="connsiteX93" fmla="*/ 2271390 w 12192001"/>
              <a:gd name="connsiteY93" fmla="*/ 4942479 h 6858001"/>
              <a:gd name="connsiteX94" fmla="*/ 2086703 w 12192001"/>
              <a:gd name="connsiteY94" fmla="*/ 4809556 h 6858001"/>
              <a:gd name="connsiteX95" fmla="*/ 1833091 w 12192001"/>
              <a:gd name="connsiteY95" fmla="*/ 4725649 h 6858001"/>
              <a:gd name="connsiteX96" fmla="*/ 1502599 w 12192001"/>
              <a:gd name="connsiteY96" fmla="*/ 4696502 h 6858001"/>
              <a:gd name="connsiteX97" fmla="*/ 11857474 w 12192001"/>
              <a:gd name="connsiteY97" fmla="*/ 4268807 h 6858001"/>
              <a:gd name="connsiteX98" fmla="*/ 12192001 w 12192001"/>
              <a:gd name="connsiteY98" fmla="*/ 4268807 h 6858001"/>
              <a:gd name="connsiteX99" fmla="*/ 12192001 w 12192001"/>
              <a:gd name="connsiteY99" fmla="*/ 6064419 h 6858001"/>
              <a:gd name="connsiteX100" fmla="*/ 11976769 w 12192001"/>
              <a:gd name="connsiteY100" fmla="*/ 6064419 h 6858001"/>
              <a:gd name="connsiteX101" fmla="*/ 11921981 w 12192001"/>
              <a:gd name="connsiteY101" fmla="*/ 5724207 h 6858001"/>
              <a:gd name="connsiteX102" fmla="*/ 11907401 w 12192001"/>
              <a:gd name="connsiteY102" fmla="*/ 5621260 h 6858001"/>
              <a:gd name="connsiteX103" fmla="*/ 11892820 w 12192001"/>
              <a:gd name="connsiteY103" fmla="*/ 5492686 h 6858001"/>
              <a:gd name="connsiteX104" fmla="*/ 11879124 w 12192001"/>
              <a:gd name="connsiteY104" fmla="*/ 5348648 h 6858001"/>
              <a:gd name="connsiteX105" fmla="*/ 11867636 w 12192001"/>
              <a:gd name="connsiteY105" fmla="*/ 5197983 h 6858001"/>
              <a:gd name="connsiteX106" fmla="*/ 11860125 w 12192001"/>
              <a:gd name="connsiteY106" fmla="*/ 5049969 h 6858001"/>
              <a:gd name="connsiteX107" fmla="*/ 11857474 w 12192001"/>
              <a:gd name="connsiteY107" fmla="*/ 4913884 h 6858001"/>
              <a:gd name="connsiteX108" fmla="*/ 9179190 w 12192001"/>
              <a:gd name="connsiteY108" fmla="*/ 4268807 h 6858001"/>
              <a:gd name="connsiteX109" fmla="*/ 9747387 w 12192001"/>
              <a:gd name="connsiteY109" fmla="*/ 4268807 h 6858001"/>
              <a:gd name="connsiteX110" fmla="*/ 9747387 w 12192001"/>
              <a:gd name="connsiteY110" fmla="*/ 5789211 h 6858001"/>
              <a:gd name="connsiteX111" fmla="*/ 10670819 w 12192001"/>
              <a:gd name="connsiteY111" fmla="*/ 5033179 h 6858001"/>
              <a:gd name="connsiteX112" fmla="*/ 11413100 w 12192001"/>
              <a:gd name="connsiteY112" fmla="*/ 5033179 h 6858001"/>
              <a:gd name="connsiteX113" fmla="*/ 10580685 w 12192001"/>
              <a:gd name="connsiteY113" fmla="*/ 5698235 h 6858001"/>
              <a:gd name="connsiteX114" fmla="*/ 10515736 w 12192001"/>
              <a:gd name="connsiteY114" fmla="*/ 5749474 h 6858001"/>
              <a:gd name="connsiteX115" fmla="*/ 10451670 w 12192001"/>
              <a:gd name="connsiteY115" fmla="*/ 5800257 h 6858001"/>
              <a:gd name="connsiteX116" fmla="*/ 10388046 w 12192001"/>
              <a:gd name="connsiteY116" fmla="*/ 5850598 h 6858001"/>
              <a:gd name="connsiteX117" fmla="*/ 10323538 w 12192001"/>
              <a:gd name="connsiteY117" fmla="*/ 5901382 h 6858001"/>
              <a:gd name="connsiteX118" fmla="*/ 10386279 w 12192001"/>
              <a:gd name="connsiteY118" fmla="*/ 5956638 h 6858001"/>
              <a:gd name="connsiteX119" fmla="*/ 10449903 w 12192001"/>
              <a:gd name="connsiteY119" fmla="*/ 6012330 h 6858001"/>
              <a:gd name="connsiteX120" fmla="*/ 10513527 w 12192001"/>
              <a:gd name="connsiteY120" fmla="*/ 6067580 h 6858001"/>
              <a:gd name="connsiteX121" fmla="*/ 10576267 w 12192001"/>
              <a:gd name="connsiteY121" fmla="*/ 6122395 h 6858001"/>
              <a:gd name="connsiteX122" fmla="*/ 11405568 w 12192001"/>
              <a:gd name="connsiteY122" fmla="*/ 6858001 h 6858001"/>
              <a:gd name="connsiteX123" fmla="*/ 10615100 w 12192001"/>
              <a:gd name="connsiteY123" fmla="*/ 6858001 h 6858001"/>
              <a:gd name="connsiteX124" fmla="*/ 9747387 w 12192001"/>
              <a:gd name="connsiteY124" fmla="*/ 6038406 h 6858001"/>
              <a:gd name="connsiteX125" fmla="*/ 9747387 w 12192001"/>
              <a:gd name="connsiteY125" fmla="*/ 6858001 h 6858001"/>
              <a:gd name="connsiteX126" fmla="*/ 9179190 w 12192001"/>
              <a:gd name="connsiteY126" fmla="*/ 6858001 h 6858001"/>
              <a:gd name="connsiteX127" fmla="*/ 347646 w 12192001"/>
              <a:gd name="connsiteY127" fmla="*/ 4268807 h 6858001"/>
              <a:gd name="connsiteX128" fmla="*/ 1621894 w 12192001"/>
              <a:gd name="connsiteY128" fmla="*/ 4268807 h 6858001"/>
              <a:gd name="connsiteX129" fmla="*/ 2079192 w 12192001"/>
              <a:gd name="connsiteY129" fmla="*/ 4312107 h 6858001"/>
              <a:gd name="connsiteX130" fmla="*/ 2446355 w 12192001"/>
              <a:gd name="connsiteY130" fmla="*/ 4435820 h 6858001"/>
              <a:gd name="connsiteX131" fmla="*/ 2726920 w 12192001"/>
              <a:gd name="connsiteY131" fmla="*/ 4630669 h 6858001"/>
              <a:gd name="connsiteX132" fmla="*/ 2923536 w 12192001"/>
              <a:gd name="connsiteY132" fmla="*/ 4888258 h 6858001"/>
              <a:gd name="connsiteX133" fmla="*/ 3039296 w 12192001"/>
              <a:gd name="connsiteY133" fmla="*/ 5199309 h 6858001"/>
              <a:gd name="connsiteX134" fmla="*/ 3077294 w 12192001"/>
              <a:gd name="connsiteY134" fmla="*/ 5554543 h 6858001"/>
              <a:gd name="connsiteX135" fmla="*/ 3038412 w 12192001"/>
              <a:gd name="connsiteY135" fmla="*/ 5908451 h 6858001"/>
              <a:gd name="connsiteX136" fmla="*/ 2920000 w 12192001"/>
              <a:gd name="connsiteY136" fmla="*/ 6227013 h 6858001"/>
              <a:gd name="connsiteX137" fmla="*/ 2718525 w 12192001"/>
              <a:gd name="connsiteY137" fmla="*/ 6497415 h 6858001"/>
              <a:gd name="connsiteX138" fmla="*/ 2430891 w 12192001"/>
              <a:gd name="connsiteY138" fmla="*/ 6706844 h 6858001"/>
              <a:gd name="connsiteX139" fmla="*/ 2054449 w 12192001"/>
              <a:gd name="connsiteY139" fmla="*/ 6842045 h 6858001"/>
              <a:gd name="connsiteX140" fmla="*/ 1955220 w 12192001"/>
              <a:gd name="connsiteY140" fmla="*/ 6858001 h 6858001"/>
              <a:gd name="connsiteX141" fmla="*/ 347646 w 12192001"/>
              <a:gd name="connsiteY141" fmla="*/ 6858001 h 6858001"/>
              <a:gd name="connsiteX142" fmla="*/ 8680151 w 12192001"/>
              <a:gd name="connsiteY142" fmla="*/ 852550 h 6858001"/>
              <a:gd name="connsiteX143" fmla="*/ 8477792 w 12192001"/>
              <a:gd name="connsiteY143" fmla="*/ 875084 h 6858001"/>
              <a:gd name="connsiteX144" fmla="*/ 8313871 w 12192001"/>
              <a:gd name="connsiteY144" fmla="*/ 944452 h 6858001"/>
              <a:gd name="connsiteX145" fmla="*/ 8195018 w 12192001"/>
              <a:gd name="connsiteY145" fmla="*/ 1062863 h 6858001"/>
              <a:gd name="connsiteX146" fmla="*/ 8126976 w 12192001"/>
              <a:gd name="connsiteY146" fmla="*/ 1232527 h 6858001"/>
              <a:gd name="connsiteX147" fmla="*/ 9237745 w 12192001"/>
              <a:gd name="connsiteY147" fmla="*/ 1232527 h 6858001"/>
              <a:gd name="connsiteX148" fmla="*/ 9169261 w 12192001"/>
              <a:gd name="connsiteY148" fmla="*/ 1062863 h 6858001"/>
              <a:gd name="connsiteX149" fmla="*/ 9049082 w 12192001"/>
              <a:gd name="connsiteY149" fmla="*/ 944452 h 6858001"/>
              <a:gd name="connsiteX150" fmla="*/ 8883395 w 12192001"/>
              <a:gd name="connsiteY150" fmla="*/ 875084 h 6858001"/>
              <a:gd name="connsiteX151" fmla="*/ 8680151 w 12192001"/>
              <a:gd name="connsiteY151" fmla="*/ 852550 h 6858001"/>
              <a:gd name="connsiteX152" fmla="*/ 4517728 w 12192001"/>
              <a:gd name="connsiteY152" fmla="*/ 852550 h 6858001"/>
              <a:gd name="connsiteX153" fmla="*/ 4315367 w 12192001"/>
              <a:gd name="connsiteY153" fmla="*/ 875084 h 6858001"/>
              <a:gd name="connsiteX154" fmla="*/ 4151447 w 12192001"/>
              <a:gd name="connsiteY154" fmla="*/ 944452 h 6858001"/>
              <a:gd name="connsiteX155" fmla="*/ 4032594 w 12192001"/>
              <a:gd name="connsiteY155" fmla="*/ 1062863 h 6858001"/>
              <a:gd name="connsiteX156" fmla="*/ 3964552 w 12192001"/>
              <a:gd name="connsiteY156" fmla="*/ 1232527 h 6858001"/>
              <a:gd name="connsiteX157" fmla="*/ 5075321 w 12192001"/>
              <a:gd name="connsiteY157" fmla="*/ 1232527 h 6858001"/>
              <a:gd name="connsiteX158" fmla="*/ 5006838 w 12192001"/>
              <a:gd name="connsiteY158" fmla="*/ 1062863 h 6858001"/>
              <a:gd name="connsiteX159" fmla="*/ 4886659 w 12192001"/>
              <a:gd name="connsiteY159" fmla="*/ 944452 h 6858001"/>
              <a:gd name="connsiteX160" fmla="*/ 4720972 w 12192001"/>
              <a:gd name="connsiteY160" fmla="*/ 875084 h 6858001"/>
              <a:gd name="connsiteX161" fmla="*/ 4517728 w 12192001"/>
              <a:gd name="connsiteY161" fmla="*/ 852550 h 6858001"/>
              <a:gd name="connsiteX162" fmla="*/ 2264041 w 12192001"/>
              <a:gd name="connsiteY162" fmla="*/ 508804 h 6858001"/>
              <a:gd name="connsiteX163" fmla="*/ 2832239 w 12192001"/>
              <a:gd name="connsiteY163" fmla="*/ 508804 h 6858001"/>
              <a:gd name="connsiteX164" fmla="*/ 2832239 w 12192001"/>
              <a:gd name="connsiteY164" fmla="*/ 2365388 h 6858001"/>
              <a:gd name="connsiteX165" fmla="*/ 2264041 w 12192001"/>
              <a:gd name="connsiteY165" fmla="*/ 2365388 h 6858001"/>
              <a:gd name="connsiteX166" fmla="*/ 11655254 w 12192001"/>
              <a:gd name="connsiteY166" fmla="*/ 450482 h 6858001"/>
              <a:gd name="connsiteX167" fmla="*/ 11896495 w 12192001"/>
              <a:gd name="connsiteY167" fmla="*/ 465504 h 6858001"/>
              <a:gd name="connsiteX168" fmla="*/ 12117853 w 12192001"/>
              <a:gd name="connsiteY168" fmla="*/ 516315 h 6858001"/>
              <a:gd name="connsiteX169" fmla="*/ 12192001 w 12192001"/>
              <a:gd name="connsiteY169" fmla="*/ 547588 h 6858001"/>
              <a:gd name="connsiteX170" fmla="*/ 12192001 w 12192001"/>
              <a:gd name="connsiteY170" fmla="*/ 2365388 h 6858001"/>
              <a:gd name="connsiteX171" fmla="*/ 12021092 w 12192001"/>
              <a:gd name="connsiteY171" fmla="*/ 2365388 h 6858001"/>
              <a:gd name="connsiteX172" fmla="*/ 12021092 w 12192001"/>
              <a:gd name="connsiteY172" fmla="*/ 1344753 h 6858001"/>
              <a:gd name="connsiteX173" fmla="*/ 11993698 w 12192001"/>
              <a:gd name="connsiteY173" fmla="*/ 1141951 h 6858001"/>
              <a:gd name="connsiteX174" fmla="*/ 11907540 w 12192001"/>
              <a:gd name="connsiteY174" fmla="*/ 998797 h 6858001"/>
              <a:gd name="connsiteX175" fmla="*/ 11756875 w 12192001"/>
              <a:gd name="connsiteY175" fmla="*/ 913523 h 6858001"/>
              <a:gd name="connsiteX176" fmla="*/ 11535958 w 12192001"/>
              <a:gd name="connsiteY176" fmla="*/ 885246 h 6858001"/>
              <a:gd name="connsiteX177" fmla="*/ 11345970 w 12192001"/>
              <a:gd name="connsiteY177" fmla="*/ 898059 h 6858001"/>
              <a:gd name="connsiteX178" fmla="*/ 11180724 w 12192001"/>
              <a:gd name="connsiteY178" fmla="*/ 932081 h 6858001"/>
              <a:gd name="connsiteX179" fmla="*/ 11036687 w 12192001"/>
              <a:gd name="connsiteY179" fmla="*/ 981566 h 6858001"/>
              <a:gd name="connsiteX180" fmla="*/ 10909439 w 12192001"/>
              <a:gd name="connsiteY180" fmla="*/ 1040772 h 6858001"/>
              <a:gd name="connsiteX181" fmla="*/ 10909439 w 12192001"/>
              <a:gd name="connsiteY181" fmla="*/ 2365388 h 6858001"/>
              <a:gd name="connsiteX182" fmla="*/ 10341241 w 12192001"/>
              <a:gd name="connsiteY182" fmla="*/ 2365388 h 6858001"/>
              <a:gd name="connsiteX183" fmla="*/ 10341241 w 12192001"/>
              <a:gd name="connsiteY183" fmla="*/ 508804 h 6858001"/>
              <a:gd name="connsiteX184" fmla="*/ 10837862 w 12192001"/>
              <a:gd name="connsiteY184" fmla="*/ 508804 h 6858001"/>
              <a:gd name="connsiteX185" fmla="*/ 10877627 w 12192001"/>
              <a:gd name="connsiteY185" fmla="*/ 721768 h 6858001"/>
              <a:gd name="connsiteX186" fmla="*/ 11034036 w 12192001"/>
              <a:gd name="connsiteY186" fmla="*/ 607775 h 6858001"/>
              <a:gd name="connsiteX187" fmla="*/ 11217838 w 12192001"/>
              <a:gd name="connsiteY187" fmla="*/ 522501 h 6858001"/>
              <a:gd name="connsiteX188" fmla="*/ 11425942 w 12192001"/>
              <a:gd name="connsiteY188" fmla="*/ 469039 h 6858001"/>
              <a:gd name="connsiteX189" fmla="*/ 11655254 w 12192001"/>
              <a:gd name="connsiteY189" fmla="*/ 450482 h 6858001"/>
              <a:gd name="connsiteX190" fmla="*/ 8680151 w 12192001"/>
              <a:gd name="connsiteY190" fmla="*/ 450482 h 6858001"/>
              <a:gd name="connsiteX191" fmla="*/ 9041129 w 12192001"/>
              <a:gd name="connsiteY191" fmla="*/ 484503 h 6858001"/>
              <a:gd name="connsiteX192" fmla="*/ 9330088 w 12192001"/>
              <a:gd name="connsiteY192" fmla="*/ 580381 h 6858001"/>
              <a:gd name="connsiteX193" fmla="*/ 9549238 w 12192001"/>
              <a:gd name="connsiteY193" fmla="*/ 729279 h 6858001"/>
              <a:gd name="connsiteX194" fmla="*/ 9702112 w 12192001"/>
              <a:gd name="connsiteY194" fmla="*/ 922802 h 6858001"/>
              <a:gd name="connsiteX195" fmla="*/ 9791804 w 12192001"/>
              <a:gd name="connsiteY195" fmla="*/ 1152556 h 6858001"/>
              <a:gd name="connsiteX196" fmla="*/ 9820966 w 12192001"/>
              <a:gd name="connsiteY196" fmla="*/ 1410144 h 6858001"/>
              <a:gd name="connsiteX197" fmla="*/ 9820082 w 12192001"/>
              <a:gd name="connsiteY197" fmla="*/ 1459188 h 6858001"/>
              <a:gd name="connsiteX198" fmla="*/ 9817873 w 12192001"/>
              <a:gd name="connsiteY198" fmla="*/ 1504697 h 6858001"/>
              <a:gd name="connsiteX199" fmla="*/ 9814338 w 12192001"/>
              <a:gd name="connsiteY199" fmla="*/ 1546229 h 6858001"/>
              <a:gd name="connsiteX200" fmla="*/ 9809478 w 12192001"/>
              <a:gd name="connsiteY200" fmla="*/ 1583343 h 6858001"/>
              <a:gd name="connsiteX201" fmla="*/ 8119023 w 12192001"/>
              <a:gd name="connsiteY201" fmla="*/ 1583343 h 6858001"/>
              <a:gd name="connsiteX202" fmla="*/ 8173368 w 12192001"/>
              <a:gd name="connsiteY202" fmla="*/ 1752123 h 6858001"/>
              <a:gd name="connsiteX203" fmla="*/ 8298407 w 12192001"/>
              <a:gd name="connsiteY203" fmla="*/ 1879813 h 6858001"/>
              <a:gd name="connsiteX204" fmla="*/ 8501651 w 12192001"/>
              <a:gd name="connsiteY204" fmla="*/ 1960669 h 6858001"/>
              <a:gd name="connsiteX205" fmla="*/ 8792377 w 12192001"/>
              <a:gd name="connsiteY205" fmla="*/ 1988946 h 6858001"/>
              <a:gd name="connsiteX206" fmla="*/ 9034502 w 12192001"/>
              <a:gd name="connsiteY206" fmla="*/ 1977900 h 6858001"/>
              <a:gd name="connsiteX207" fmla="*/ 9265581 w 12192001"/>
              <a:gd name="connsiteY207" fmla="*/ 1946972 h 6858001"/>
              <a:gd name="connsiteX208" fmla="*/ 9475010 w 12192001"/>
              <a:gd name="connsiteY208" fmla="*/ 1900138 h 6858001"/>
              <a:gd name="connsiteX209" fmla="*/ 9653952 w 12192001"/>
              <a:gd name="connsiteY209" fmla="*/ 1840490 h 6858001"/>
              <a:gd name="connsiteX210" fmla="*/ 9653952 w 12192001"/>
              <a:gd name="connsiteY210" fmla="*/ 2246093 h 6858001"/>
              <a:gd name="connsiteX211" fmla="*/ 9466615 w 12192001"/>
              <a:gd name="connsiteY211" fmla="*/ 2317670 h 6858001"/>
              <a:gd name="connsiteX212" fmla="*/ 9238187 w 12192001"/>
              <a:gd name="connsiteY212" fmla="*/ 2372016 h 6858001"/>
              <a:gd name="connsiteX213" fmla="*/ 8985900 w 12192001"/>
              <a:gd name="connsiteY213" fmla="*/ 2406920 h 6858001"/>
              <a:gd name="connsiteX214" fmla="*/ 8727869 w 12192001"/>
              <a:gd name="connsiteY214" fmla="*/ 2419292 h 6858001"/>
              <a:gd name="connsiteX215" fmla="*/ 8363799 w 12192001"/>
              <a:gd name="connsiteY215" fmla="*/ 2385713 h 6858001"/>
              <a:gd name="connsiteX216" fmla="*/ 8066887 w 12192001"/>
              <a:gd name="connsiteY216" fmla="*/ 2290718 h 6858001"/>
              <a:gd name="connsiteX217" fmla="*/ 7837133 w 12192001"/>
              <a:gd name="connsiteY217" fmla="*/ 2141821 h 6858001"/>
              <a:gd name="connsiteX218" fmla="*/ 7673655 w 12192001"/>
              <a:gd name="connsiteY218" fmla="*/ 1946088 h 6858001"/>
              <a:gd name="connsiteX219" fmla="*/ 7576010 w 12192001"/>
              <a:gd name="connsiteY219" fmla="*/ 1711917 h 6858001"/>
              <a:gd name="connsiteX220" fmla="*/ 7543756 w 12192001"/>
              <a:gd name="connsiteY220" fmla="*/ 1446375 h 6858001"/>
              <a:gd name="connsiteX221" fmla="*/ 7573359 w 12192001"/>
              <a:gd name="connsiteY221" fmla="*/ 1190553 h 6858001"/>
              <a:gd name="connsiteX222" fmla="*/ 7663934 w 12192001"/>
              <a:gd name="connsiteY222" fmla="*/ 955056 h 6858001"/>
              <a:gd name="connsiteX223" fmla="*/ 7817692 w 12192001"/>
              <a:gd name="connsiteY223" fmla="*/ 751812 h 6858001"/>
              <a:gd name="connsiteX224" fmla="*/ 8036400 w 12192001"/>
              <a:gd name="connsiteY224" fmla="*/ 591869 h 6858001"/>
              <a:gd name="connsiteX225" fmla="*/ 8323150 w 12192001"/>
              <a:gd name="connsiteY225" fmla="*/ 487596 h 6858001"/>
              <a:gd name="connsiteX226" fmla="*/ 8680151 w 12192001"/>
              <a:gd name="connsiteY226" fmla="*/ 450482 h 6858001"/>
              <a:gd name="connsiteX227" fmla="*/ 4517728 w 12192001"/>
              <a:gd name="connsiteY227" fmla="*/ 450482 h 6858001"/>
              <a:gd name="connsiteX228" fmla="*/ 4878705 w 12192001"/>
              <a:gd name="connsiteY228" fmla="*/ 484503 h 6858001"/>
              <a:gd name="connsiteX229" fmla="*/ 5167664 w 12192001"/>
              <a:gd name="connsiteY229" fmla="*/ 580381 h 6858001"/>
              <a:gd name="connsiteX230" fmla="*/ 5386814 w 12192001"/>
              <a:gd name="connsiteY230" fmla="*/ 729279 h 6858001"/>
              <a:gd name="connsiteX231" fmla="*/ 5539687 w 12192001"/>
              <a:gd name="connsiteY231" fmla="*/ 922802 h 6858001"/>
              <a:gd name="connsiteX232" fmla="*/ 5629379 w 12192001"/>
              <a:gd name="connsiteY232" fmla="*/ 1152556 h 6858001"/>
              <a:gd name="connsiteX233" fmla="*/ 5658540 w 12192001"/>
              <a:gd name="connsiteY233" fmla="*/ 1410144 h 6858001"/>
              <a:gd name="connsiteX234" fmla="*/ 5657657 w 12192001"/>
              <a:gd name="connsiteY234" fmla="*/ 1459188 h 6858001"/>
              <a:gd name="connsiteX235" fmla="*/ 5655449 w 12192001"/>
              <a:gd name="connsiteY235" fmla="*/ 1504697 h 6858001"/>
              <a:gd name="connsiteX236" fmla="*/ 5651914 w 12192001"/>
              <a:gd name="connsiteY236" fmla="*/ 1546229 h 6858001"/>
              <a:gd name="connsiteX237" fmla="*/ 5647052 w 12192001"/>
              <a:gd name="connsiteY237" fmla="*/ 1583343 h 6858001"/>
              <a:gd name="connsiteX238" fmla="*/ 3956599 w 12192001"/>
              <a:gd name="connsiteY238" fmla="*/ 1583343 h 6858001"/>
              <a:gd name="connsiteX239" fmla="*/ 4010944 w 12192001"/>
              <a:gd name="connsiteY239" fmla="*/ 1752123 h 6858001"/>
              <a:gd name="connsiteX240" fmla="*/ 4135983 w 12192001"/>
              <a:gd name="connsiteY240" fmla="*/ 1879813 h 6858001"/>
              <a:gd name="connsiteX241" fmla="*/ 4339226 w 12192001"/>
              <a:gd name="connsiteY241" fmla="*/ 1960669 h 6858001"/>
              <a:gd name="connsiteX242" fmla="*/ 4629955 w 12192001"/>
              <a:gd name="connsiteY242" fmla="*/ 1988946 h 6858001"/>
              <a:gd name="connsiteX243" fmla="*/ 4872079 w 12192001"/>
              <a:gd name="connsiteY243" fmla="*/ 1977900 h 6858001"/>
              <a:gd name="connsiteX244" fmla="*/ 5103157 w 12192001"/>
              <a:gd name="connsiteY244" fmla="*/ 1946972 h 6858001"/>
              <a:gd name="connsiteX245" fmla="*/ 5312586 w 12192001"/>
              <a:gd name="connsiteY245" fmla="*/ 1900138 h 6858001"/>
              <a:gd name="connsiteX246" fmla="*/ 5491527 w 12192001"/>
              <a:gd name="connsiteY246" fmla="*/ 1840490 h 6858001"/>
              <a:gd name="connsiteX247" fmla="*/ 5491527 w 12192001"/>
              <a:gd name="connsiteY247" fmla="*/ 2246093 h 6858001"/>
              <a:gd name="connsiteX248" fmla="*/ 5304192 w 12192001"/>
              <a:gd name="connsiteY248" fmla="*/ 2317670 h 6858001"/>
              <a:gd name="connsiteX249" fmla="*/ 5075763 w 12192001"/>
              <a:gd name="connsiteY249" fmla="*/ 2372016 h 6858001"/>
              <a:gd name="connsiteX250" fmla="*/ 4823476 w 12192001"/>
              <a:gd name="connsiteY250" fmla="*/ 2406920 h 6858001"/>
              <a:gd name="connsiteX251" fmla="*/ 4565446 w 12192001"/>
              <a:gd name="connsiteY251" fmla="*/ 2419292 h 6858001"/>
              <a:gd name="connsiteX252" fmla="*/ 4201376 w 12192001"/>
              <a:gd name="connsiteY252" fmla="*/ 2385713 h 6858001"/>
              <a:gd name="connsiteX253" fmla="*/ 3904463 w 12192001"/>
              <a:gd name="connsiteY253" fmla="*/ 2290718 h 6858001"/>
              <a:gd name="connsiteX254" fmla="*/ 3674709 w 12192001"/>
              <a:gd name="connsiteY254" fmla="*/ 2141821 h 6858001"/>
              <a:gd name="connsiteX255" fmla="*/ 3511230 w 12192001"/>
              <a:gd name="connsiteY255" fmla="*/ 1946088 h 6858001"/>
              <a:gd name="connsiteX256" fmla="*/ 3413585 w 12192001"/>
              <a:gd name="connsiteY256" fmla="*/ 1711917 h 6858001"/>
              <a:gd name="connsiteX257" fmla="*/ 3381331 w 12192001"/>
              <a:gd name="connsiteY257" fmla="*/ 1446375 h 6858001"/>
              <a:gd name="connsiteX258" fmla="*/ 3410934 w 12192001"/>
              <a:gd name="connsiteY258" fmla="*/ 1190553 h 6858001"/>
              <a:gd name="connsiteX259" fmla="*/ 3501510 w 12192001"/>
              <a:gd name="connsiteY259" fmla="*/ 955056 h 6858001"/>
              <a:gd name="connsiteX260" fmla="*/ 3655268 w 12192001"/>
              <a:gd name="connsiteY260" fmla="*/ 751812 h 6858001"/>
              <a:gd name="connsiteX261" fmla="*/ 3873976 w 12192001"/>
              <a:gd name="connsiteY261" fmla="*/ 591869 h 6858001"/>
              <a:gd name="connsiteX262" fmla="*/ 4160726 w 12192001"/>
              <a:gd name="connsiteY262" fmla="*/ 487596 h 6858001"/>
              <a:gd name="connsiteX263" fmla="*/ 4517728 w 12192001"/>
              <a:gd name="connsiteY263" fmla="*/ 450482 h 6858001"/>
              <a:gd name="connsiteX264" fmla="*/ 6157609 w 12192001"/>
              <a:gd name="connsiteY264" fmla="*/ 0 h 6858001"/>
              <a:gd name="connsiteX265" fmla="*/ 6725806 w 12192001"/>
              <a:gd name="connsiteY265" fmla="*/ 0 h 6858001"/>
              <a:gd name="connsiteX266" fmla="*/ 6725806 w 12192001"/>
              <a:gd name="connsiteY266" fmla="*/ 1760960 h 6858001"/>
              <a:gd name="connsiteX267" fmla="*/ 6734642 w 12192001"/>
              <a:gd name="connsiteY267" fmla="*/ 1849327 h 6858001"/>
              <a:gd name="connsiteX268" fmla="*/ 6771756 w 12192001"/>
              <a:gd name="connsiteY268" fmla="*/ 1916927 h 6858001"/>
              <a:gd name="connsiteX269" fmla="*/ 6852612 w 12192001"/>
              <a:gd name="connsiteY269" fmla="*/ 1959785 h 6858001"/>
              <a:gd name="connsiteX270" fmla="*/ 6993557 w 12192001"/>
              <a:gd name="connsiteY270" fmla="*/ 1974808 h 6858001"/>
              <a:gd name="connsiteX271" fmla="*/ 7148198 w 12192001"/>
              <a:gd name="connsiteY271" fmla="*/ 1962878 h 6858001"/>
              <a:gd name="connsiteX272" fmla="*/ 7286935 w 12192001"/>
              <a:gd name="connsiteY272" fmla="*/ 1935043 h 6858001"/>
              <a:gd name="connsiteX273" fmla="*/ 7286935 w 12192001"/>
              <a:gd name="connsiteY273" fmla="*/ 2332693 h 6858001"/>
              <a:gd name="connsiteX274" fmla="*/ 7183987 w 12192001"/>
              <a:gd name="connsiteY274" fmla="*/ 2364947 h 6858001"/>
              <a:gd name="connsiteX275" fmla="*/ 7064249 w 12192001"/>
              <a:gd name="connsiteY275" fmla="*/ 2390131 h 6858001"/>
              <a:gd name="connsiteX276" fmla="*/ 6935235 w 12192001"/>
              <a:gd name="connsiteY276" fmla="*/ 2406479 h 6858001"/>
              <a:gd name="connsiteX277" fmla="*/ 6805336 w 12192001"/>
              <a:gd name="connsiteY277" fmla="*/ 2412223 h 6858001"/>
              <a:gd name="connsiteX278" fmla="*/ 6505773 w 12192001"/>
              <a:gd name="connsiteY278" fmla="*/ 2373342 h 6858001"/>
              <a:gd name="connsiteX279" fmla="*/ 6305180 w 12192001"/>
              <a:gd name="connsiteY279" fmla="*/ 2260674 h 6858001"/>
              <a:gd name="connsiteX280" fmla="*/ 6192514 w 12192001"/>
              <a:gd name="connsiteY280" fmla="*/ 2079964 h 6858001"/>
              <a:gd name="connsiteX281" fmla="*/ 6157609 w 12192001"/>
              <a:gd name="connsiteY281" fmla="*/ 1836955 h 6858001"/>
              <a:gd name="connsiteX282" fmla="*/ 2264041 w 12192001"/>
              <a:gd name="connsiteY282" fmla="*/ 0 h 6858001"/>
              <a:gd name="connsiteX283" fmla="*/ 2832239 w 12192001"/>
              <a:gd name="connsiteY283" fmla="*/ 0 h 6858001"/>
              <a:gd name="connsiteX284" fmla="*/ 2832239 w 12192001"/>
              <a:gd name="connsiteY284" fmla="*/ 237518 h 6858001"/>
              <a:gd name="connsiteX285" fmla="*/ 2264041 w 12192001"/>
              <a:gd name="connsiteY285" fmla="*/ 237518 h 6858001"/>
              <a:gd name="connsiteX286" fmla="*/ 1165266 w 12192001"/>
              <a:gd name="connsiteY286" fmla="*/ 0 h 6858001"/>
              <a:gd name="connsiteX287" fmla="*/ 1795460 w 12192001"/>
              <a:gd name="connsiteY287" fmla="*/ 0 h 6858001"/>
              <a:gd name="connsiteX288" fmla="*/ 599681 w 12192001"/>
              <a:gd name="connsiteY288" fmla="*/ 2365388 h 6858001"/>
              <a:gd name="connsiteX289" fmla="*/ 0 w 12192001"/>
              <a:gd name="connsiteY289" fmla="*/ 2365388 h 6858001"/>
              <a:gd name="connsiteX290" fmla="*/ 0 w 12192001"/>
              <a:gd name="connsiteY290" fmla="*/ 1139294 h 6858001"/>
              <a:gd name="connsiteX291" fmla="*/ 176267 w 12192001"/>
              <a:gd name="connsiteY291" fmla="*/ 1507348 h 6858001"/>
              <a:gd name="connsiteX292" fmla="*/ 243011 w 12192001"/>
              <a:gd name="connsiteY292" fmla="*/ 1648734 h 6858001"/>
              <a:gd name="connsiteX293" fmla="*/ 309756 w 12192001"/>
              <a:gd name="connsiteY293" fmla="*/ 1790121 h 6858001"/>
              <a:gd name="connsiteX294" fmla="*/ 376942 w 12192001"/>
              <a:gd name="connsiteY294" fmla="*/ 1648734 h 6858001"/>
              <a:gd name="connsiteX295" fmla="*/ 444128 w 12192001"/>
              <a:gd name="connsiteY295" fmla="*/ 150734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</a:cxnLst>
            <a:rect l="l" t="t" r="r" b="b"/>
            <a:pathLst>
              <a:path w="12192001" h="6858001">
                <a:moveTo>
                  <a:pt x="11850404" y="6343657"/>
                </a:moveTo>
                <a:lnTo>
                  <a:pt x="12192001" y="6343657"/>
                </a:lnTo>
                <a:lnTo>
                  <a:pt x="12192001" y="6858001"/>
                </a:lnTo>
                <a:lnTo>
                  <a:pt x="11850404" y="6858001"/>
                </a:lnTo>
                <a:close/>
                <a:moveTo>
                  <a:pt x="4760848" y="6104184"/>
                </a:moveTo>
                <a:cubicBezTo>
                  <a:pt x="4637722" y="6104184"/>
                  <a:pt x="4532272" y="6108454"/>
                  <a:pt x="4444496" y="6116997"/>
                </a:cubicBezTo>
                <a:cubicBezTo>
                  <a:pt x="4356716" y="6125539"/>
                  <a:pt x="4284844" y="6139530"/>
                  <a:pt x="4228881" y="6158971"/>
                </a:cubicBezTo>
                <a:cubicBezTo>
                  <a:pt x="4172914" y="6178412"/>
                  <a:pt x="4131823" y="6203596"/>
                  <a:pt x="4105608" y="6234524"/>
                </a:cubicBezTo>
                <a:cubicBezTo>
                  <a:pt x="4079392" y="6265453"/>
                  <a:pt x="4066285" y="6303009"/>
                  <a:pt x="4066285" y="6347192"/>
                </a:cubicBezTo>
                <a:cubicBezTo>
                  <a:pt x="4066285" y="6377237"/>
                  <a:pt x="4073060" y="6405808"/>
                  <a:pt x="4086609" y="6432908"/>
                </a:cubicBezTo>
                <a:cubicBezTo>
                  <a:pt x="4100158" y="6460007"/>
                  <a:pt x="4121514" y="6483866"/>
                  <a:pt x="4150675" y="6504485"/>
                </a:cubicBezTo>
                <a:cubicBezTo>
                  <a:pt x="4179836" y="6525103"/>
                  <a:pt x="4217393" y="6541451"/>
                  <a:pt x="4263343" y="6553528"/>
                </a:cubicBezTo>
                <a:cubicBezTo>
                  <a:pt x="4309295" y="6565605"/>
                  <a:pt x="4364376" y="6571643"/>
                  <a:pt x="4428590" y="6571643"/>
                </a:cubicBezTo>
                <a:cubicBezTo>
                  <a:pt x="4498104" y="6571643"/>
                  <a:pt x="4562464" y="6567519"/>
                  <a:pt x="4621669" y="6559272"/>
                </a:cubicBezTo>
                <a:cubicBezTo>
                  <a:pt x="4680875" y="6551024"/>
                  <a:pt x="4735957" y="6539537"/>
                  <a:pt x="4786917" y="6524809"/>
                </a:cubicBezTo>
                <a:cubicBezTo>
                  <a:pt x="4837873" y="6510081"/>
                  <a:pt x="4885002" y="6492555"/>
                  <a:pt x="4928302" y="6472231"/>
                </a:cubicBezTo>
                <a:cubicBezTo>
                  <a:pt x="4971601" y="6451907"/>
                  <a:pt x="5012398" y="6429373"/>
                  <a:pt x="5050690" y="6404630"/>
                </a:cubicBezTo>
                <a:lnTo>
                  <a:pt x="5050690" y="6104184"/>
                </a:lnTo>
                <a:close/>
                <a:moveTo>
                  <a:pt x="7588077" y="4974857"/>
                </a:moveTo>
                <a:cubicBezTo>
                  <a:pt x="7670553" y="4974857"/>
                  <a:pt x="7750966" y="4979864"/>
                  <a:pt x="7829318" y="4989879"/>
                </a:cubicBezTo>
                <a:cubicBezTo>
                  <a:pt x="7907669" y="4999895"/>
                  <a:pt x="7981456" y="5016831"/>
                  <a:pt x="8050677" y="5040690"/>
                </a:cubicBezTo>
                <a:cubicBezTo>
                  <a:pt x="8119897" y="5064549"/>
                  <a:pt x="8183374" y="5096656"/>
                  <a:pt x="8241107" y="5137010"/>
                </a:cubicBezTo>
                <a:cubicBezTo>
                  <a:pt x="8298840" y="5177364"/>
                  <a:pt x="8348473" y="5228028"/>
                  <a:pt x="8390005" y="5289001"/>
                </a:cubicBezTo>
                <a:cubicBezTo>
                  <a:pt x="8431538" y="5349974"/>
                  <a:pt x="8463938" y="5422287"/>
                  <a:pt x="8487209" y="5505941"/>
                </a:cubicBezTo>
                <a:cubicBezTo>
                  <a:pt x="8510478" y="5589595"/>
                  <a:pt x="8522113" y="5686503"/>
                  <a:pt x="8522113" y="5796667"/>
                </a:cubicBezTo>
                <a:lnTo>
                  <a:pt x="8522113" y="6858001"/>
                </a:lnTo>
                <a:lnTo>
                  <a:pt x="7953916" y="6858001"/>
                </a:lnTo>
                <a:lnTo>
                  <a:pt x="7953916" y="5869128"/>
                </a:lnTo>
                <a:cubicBezTo>
                  <a:pt x="7953916" y="5791365"/>
                  <a:pt x="7944784" y="5723765"/>
                  <a:pt x="7926522" y="5666327"/>
                </a:cubicBezTo>
                <a:cubicBezTo>
                  <a:pt x="7908259" y="5608888"/>
                  <a:pt x="7879540" y="5561170"/>
                  <a:pt x="7840364" y="5523173"/>
                </a:cubicBezTo>
                <a:cubicBezTo>
                  <a:pt x="7801188" y="5485175"/>
                  <a:pt x="7750966" y="5456750"/>
                  <a:pt x="7689699" y="5437899"/>
                </a:cubicBezTo>
                <a:cubicBezTo>
                  <a:pt x="7628431" y="5419047"/>
                  <a:pt x="7554792" y="5409621"/>
                  <a:pt x="7468782" y="5409621"/>
                </a:cubicBezTo>
                <a:cubicBezTo>
                  <a:pt x="7401034" y="5409621"/>
                  <a:pt x="7337704" y="5413893"/>
                  <a:pt x="7278795" y="5422434"/>
                </a:cubicBezTo>
                <a:cubicBezTo>
                  <a:pt x="7219883" y="5430976"/>
                  <a:pt x="7164802" y="5442317"/>
                  <a:pt x="7113550" y="5456456"/>
                </a:cubicBezTo>
                <a:cubicBezTo>
                  <a:pt x="7062296" y="5470594"/>
                  <a:pt x="7014283" y="5487089"/>
                  <a:pt x="6969511" y="5505941"/>
                </a:cubicBezTo>
                <a:cubicBezTo>
                  <a:pt x="6924739" y="5524793"/>
                  <a:pt x="6882323" y="5544528"/>
                  <a:pt x="6842263" y="5565147"/>
                </a:cubicBezTo>
                <a:lnTo>
                  <a:pt x="6842263" y="6858001"/>
                </a:lnTo>
                <a:lnTo>
                  <a:pt x="6274065" y="6858001"/>
                </a:lnTo>
                <a:lnTo>
                  <a:pt x="6274065" y="5033179"/>
                </a:lnTo>
                <a:lnTo>
                  <a:pt x="6770686" y="5033179"/>
                </a:lnTo>
                <a:lnTo>
                  <a:pt x="6810451" y="5246143"/>
                </a:lnTo>
                <a:cubicBezTo>
                  <a:pt x="6857581" y="5203727"/>
                  <a:pt x="6909716" y="5165729"/>
                  <a:pt x="6966860" y="5132150"/>
                </a:cubicBezTo>
                <a:cubicBezTo>
                  <a:pt x="7024004" y="5098571"/>
                  <a:pt x="7085272" y="5070146"/>
                  <a:pt x="7150664" y="5046876"/>
                </a:cubicBezTo>
                <a:cubicBezTo>
                  <a:pt x="7216054" y="5023606"/>
                  <a:pt x="7285422" y="5005785"/>
                  <a:pt x="7358766" y="4993414"/>
                </a:cubicBezTo>
                <a:cubicBezTo>
                  <a:pt x="7432110" y="4981043"/>
                  <a:pt x="7508547" y="4974857"/>
                  <a:pt x="7588077" y="4974857"/>
                </a:cubicBezTo>
                <a:close/>
                <a:moveTo>
                  <a:pt x="4529326" y="4974857"/>
                </a:moveTo>
                <a:cubicBezTo>
                  <a:pt x="4700168" y="4974857"/>
                  <a:pt x="4852306" y="4988996"/>
                  <a:pt x="4985741" y="5017273"/>
                </a:cubicBezTo>
                <a:cubicBezTo>
                  <a:pt x="5119174" y="5045550"/>
                  <a:pt x="5231694" y="5090323"/>
                  <a:pt x="5323302" y="5151591"/>
                </a:cubicBezTo>
                <a:cubicBezTo>
                  <a:pt x="5414908" y="5212858"/>
                  <a:pt x="5484718" y="5291799"/>
                  <a:pt x="5532730" y="5388413"/>
                </a:cubicBezTo>
                <a:cubicBezTo>
                  <a:pt x="5580743" y="5485028"/>
                  <a:pt x="5604748" y="5601672"/>
                  <a:pt x="5604748" y="5738345"/>
                </a:cubicBezTo>
                <a:lnTo>
                  <a:pt x="5604748" y="6858001"/>
                </a:lnTo>
                <a:lnTo>
                  <a:pt x="5109968" y="6858001"/>
                </a:lnTo>
                <a:lnTo>
                  <a:pt x="5079851" y="6701542"/>
                </a:lnTo>
                <a:cubicBezTo>
                  <a:pt x="5033901" y="6740424"/>
                  <a:pt x="4982647" y="6775181"/>
                  <a:pt x="4926093" y="6805815"/>
                </a:cubicBezTo>
                <a:lnTo>
                  <a:pt x="4802339" y="6858001"/>
                </a:lnTo>
                <a:lnTo>
                  <a:pt x="3808692" y="6858001"/>
                </a:lnTo>
                <a:lnTo>
                  <a:pt x="3702214" y="6798304"/>
                </a:lnTo>
                <a:cubicBezTo>
                  <a:pt x="3632699" y="6749113"/>
                  <a:pt x="3579531" y="6688435"/>
                  <a:pt x="3542712" y="6616269"/>
                </a:cubicBezTo>
                <a:cubicBezTo>
                  <a:pt x="3505893" y="6544102"/>
                  <a:pt x="3487483" y="6461479"/>
                  <a:pt x="3487483" y="6368400"/>
                </a:cubicBezTo>
                <a:cubicBezTo>
                  <a:pt x="3487483" y="6291226"/>
                  <a:pt x="3500885" y="6222889"/>
                  <a:pt x="3527690" y="6163389"/>
                </a:cubicBezTo>
                <a:cubicBezTo>
                  <a:pt x="3554495" y="6103889"/>
                  <a:pt x="3592786" y="6052047"/>
                  <a:pt x="3642566" y="6007864"/>
                </a:cubicBezTo>
                <a:cubicBezTo>
                  <a:pt x="3692346" y="5963680"/>
                  <a:pt x="3752583" y="5926419"/>
                  <a:pt x="3823277" y="5896080"/>
                </a:cubicBezTo>
                <a:cubicBezTo>
                  <a:pt x="3893970" y="5865741"/>
                  <a:pt x="3973205" y="5841293"/>
                  <a:pt x="4060983" y="5822736"/>
                </a:cubicBezTo>
                <a:cubicBezTo>
                  <a:pt x="4148760" y="5804179"/>
                  <a:pt x="4244198" y="5790924"/>
                  <a:pt x="4347292" y="5782971"/>
                </a:cubicBezTo>
                <a:cubicBezTo>
                  <a:pt x="4450386" y="5775018"/>
                  <a:pt x="4559372" y="5771041"/>
                  <a:pt x="4674250" y="5771041"/>
                </a:cubicBezTo>
                <a:cubicBezTo>
                  <a:pt x="4721378" y="5771041"/>
                  <a:pt x="4767475" y="5771630"/>
                  <a:pt x="4812542" y="5772808"/>
                </a:cubicBezTo>
                <a:cubicBezTo>
                  <a:pt x="4857608" y="5773986"/>
                  <a:pt x="4899290" y="5775459"/>
                  <a:pt x="4937582" y="5777227"/>
                </a:cubicBezTo>
                <a:cubicBezTo>
                  <a:pt x="4975871" y="5778994"/>
                  <a:pt x="5013576" y="5780761"/>
                  <a:pt x="5050690" y="5782529"/>
                </a:cubicBezTo>
                <a:lnTo>
                  <a:pt x="5050690" y="5778994"/>
                </a:lnTo>
                <a:cubicBezTo>
                  <a:pt x="5050690" y="5713603"/>
                  <a:pt x="5038318" y="5657490"/>
                  <a:pt x="5013576" y="5610656"/>
                </a:cubicBezTo>
                <a:cubicBezTo>
                  <a:pt x="4988832" y="5563821"/>
                  <a:pt x="4952161" y="5525235"/>
                  <a:pt x="4903559" y="5494895"/>
                </a:cubicBezTo>
                <a:cubicBezTo>
                  <a:pt x="4854957" y="5464556"/>
                  <a:pt x="4794574" y="5442170"/>
                  <a:pt x="4722410" y="5427736"/>
                </a:cubicBezTo>
                <a:cubicBezTo>
                  <a:pt x="4650243" y="5413303"/>
                  <a:pt x="4566735" y="5406087"/>
                  <a:pt x="4471889" y="5406087"/>
                </a:cubicBezTo>
                <a:cubicBezTo>
                  <a:pt x="4392947" y="5406087"/>
                  <a:pt x="4317541" y="5409916"/>
                  <a:pt x="4245671" y="5417574"/>
                </a:cubicBezTo>
                <a:cubicBezTo>
                  <a:pt x="4173797" y="5425233"/>
                  <a:pt x="4105018" y="5435837"/>
                  <a:pt x="4039333" y="5449386"/>
                </a:cubicBezTo>
                <a:cubicBezTo>
                  <a:pt x="3973647" y="5462936"/>
                  <a:pt x="3911201" y="5478989"/>
                  <a:pt x="3851995" y="5497546"/>
                </a:cubicBezTo>
                <a:cubicBezTo>
                  <a:pt x="3792790" y="5516103"/>
                  <a:pt x="3736382" y="5536280"/>
                  <a:pt x="3682773" y="5558077"/>
                </a:cubicBezTo>
                <a:lnTo>
                  <a:pt x="3682773" y="5152474"/>
                </a:lnTo>
                <a:cubicBezTo>
                  <a:pt x="3735204" y="5125964"/>
                  <a:pt x="3792937" y="5101810"/>
                  <a:pt x="3855972" y="5080014"/>
                </a:cubicBezTo>
                <a:cubicBezTo>
                  <a:pt x="3919007" y="5058217"/>
                  <a:pt x="3986460" y="5039512"/>
                  <a:pt x="4058332" y="5023901"/>
                </a:cubicBezTo>
                <a:cubicBezTo>
                  <a:pt x="4130203" y="5008289"/>
                  <a:pt x="4205611" y="4996212"/>
                  <a:pt x="4284553" y="4987670"/>
                </a:cubicBezTo>
                <a:cubicBezTo>
                  <a:pt x="4363493" y="4979128"/>
                  <a:pt x="4445084" y="4974857"/>
                  <a:pt x="4529326" y="4974857"/>
                </a:cubicBezTo>
                <a:close/>
                <a:moveTo>
                  <a:pt x="927332" y="4696502"/>
                </a:moveTo>
                <a:lnTo>
                  <a:pt x="927332" y="6462069"/>
                </a:lnTo>
                <a:lnTo>
                  <a:pt x="1502599" y="6462069"/>
                </a:lnTo>
                <a:cubicBezTo>
                  <a:pt x="1626312" y="6462069"/>
                  <a:pt x="1736476" y="6452353"/>
                  <a:pt x="1833091" y="6432921"/>
                </a:cubicBezTo>
                <a:cubicBezTo>
                  <a:pt x="1929704" y="6413490"/>
                  <a:pt x="2014242" y="6385521"/>
                  <a:pt x="2086703" y="6349015"/>
                </a:cubicBezTo>
                <a:cubicBezTo>
                  <a:pt x="2159163" y="6312508"/>
                  <a:pt x="2220725" y="6268200"/>
                  <a:pt x="2271390" y="6216091"/>
                </a:cubicBezTo>
                <a:cubicBezTo>
                  <a:pt x="2322053" y="6163983"/>
                  <a:pt x="2362996" y="6105102"/>
                  <a:pt x="2394219" y="6039448"/>
                </a:cubicBezTo>
                <a:cubicBezTo>
                  <a:pt x="2425442" y="5973794"/>
                  <a:pt x="2448123" y="5902399"/>
                  <a:pt x="2462261" y="5825262"/>
                </a:cubicBezTo>
                <a:cubicBezTo>
                  <a:pt x="2476400" y="5748126"/>
                  <a:pt x="2483469" y="5665986"/>
                  <a:pt x="2483469" y="5578844"/>
                </a:cubicBezTo>
                <a:cubicBezTo>
                  <a:pt x="2483469" y="5491701"/>
                  <a:pt x="2476400" y="5409561"/>
                  <a:pt x="2462261" y="5332425"/>
                </a:cubicBezTo>
                <a:cubicBezTo>
                  <a:pt x="2448123" y="5255288"/>
                  <a:pt x="2425442" y="5184040"/>
                  <a:pt x="2394219" y="5118681"/>
                </a:cubicBezTo>
                <a:cubicBezTo>
                  <a:pt x="2362996" y="5053322"/>
                  <a:pt x="2322053" y="4994588"/>
                  <a:pt x="2271390" y="4942479"/>
                </a:cubicBezTo>
                <a:cubicBezTo>
                  <a:pt x="2220725" y="4890370"/>
                  <a:pt x="2159163" y="4846063"/>
                  <a:pt x="2086703" y="4809556"/>
                </a:cubicBezTo>
                <a:cubicBezTo>
                  <a:pt x="2014242" y="4773050"/>
                  <a:pt x="1929704" y="4745081"/>
                  <a:pt x="1833091" y="4725649"/>
                </a:cubicBezTo>
                <a:cubicBezTo>
                  <a:pt x="1736476" y="4706218"/>
                  <a:pt x="1626312" y="4696502"/>
                  <a:pt x="1502599" y="4696502"/>
                </a:cubicBezTo>
                <a:close/>
                <a:moveTo>
                  <a:pt x="11857474" y="4268807"/>
                </a:moveTo>
                <a:lnTo>
                  <a:pt x="12192001" y="4268807"/>
                </a:lnTo>
                <a:lnTo>
                  <a:pt x="12192001" y="6064419"/>
                </a:lnTo>
                <a:lnTo>
                  <a:pt x="11976769" y="6064419"/>
                </a:lnTo>
                <a:lnTo>
                  <a:pt x="11921981" y="5724207"/>
                </a:lnTo>
                <a:cubicBezTo>
                  <a:pt x="11917268" y="5695340"/>
                  <a:pt x="11912408" y="5661025"/>
                  <a:pt x="11907401" y="5621260"/>
                </a:cubicBezTo>
                <a:cubicBezTo>
                  <a:pt x="11902393" y="5581495"/>
                  <a:pt x="11897533" y="5538637"/>
                  <a:pt x="11892820" y="5492686"/>
                </a:cubicBezTo>
                <a:cubicBezTo>
                  <a:pt x="11888107" y="5446735"/>
                  <a:pt x="11883541" y="5398723"/>
                  <a:pt x="11879124" y="5348648"/>
                </a:cubicBezTo>
                <a:cubicBezTo>
                  <a:pt x="11874704" y="5298574"/>
                  <a:pt x="11870875" y="5248352"/>
                  <a:pt x="11867636" y="5197983"/>
                </a:cubicBezTo>
                <a:cubicBezTo>
                  <a:pt x="11864395" y="5147614"/>
                  <a:pt x="11861892" y="5098276"/>
                  <a:pt x="11860125" y="5049969"/>
                </a:cubicBezTo>
                <a:cubicBezTo>
                  <a:pt x="11858357" y="5001662"/>
                  <a:pt x="11857474" y="4956300"/>
                  <a:pt x="11857474" y="4913884"/>
                </a:cubicBezTo>
                <a:close/>
                <a:moveTo>
                  <a:pt x="9179190" y="4268807"/>
                </a:moveTo>
                <a:lnTo>
                  <a:pt x="9747387" y="4268807"/>
                </a:lnTo>
                <a:lnTo>
                  <a:pt x="9747387" y="5789211"/>
                </a:lnTo>
                <a:lnTo>
                  <a:pt x="10670819" y="5033179"/>
                </a:lnTo>
                <a:lnTo>
                  <a:pt x="11413100" y="5033179"/>
                </a:lnTo>
                <a:lnTo>
                  <a:pt x="10580685" y="5698235"/>
                </a:lnTo>
                <a:cubicBezTo>
                  <a:pt x="10558889" y="5715319"/>
                  <a:pt x="10537239" y="5732399"/>
                  <a:pt x="10515736" y="5749474"/>
                </a:cubicBezTo>
                <a:cubicBezTo>
                  <a:pt x="10494234" y="5766549"/>
                  <a:pt x="10472878" y="5783477"/>
                  <a:pt x="10451670" y="5800257"/>
                </a:cubicBezTo>
                <a:cubicBezTo>
                  <a:pt x="10430462" y="5817038"/>
                  <a:pt x="10409254" y="5833818"/>
                  <a:pt x="10388046" y="5850598"/>
                </a:cubicBezTo>
                <a:cubicBezTo>
                  <a:pt x="10366838" y="5867379"/>
                  <a:pt x="10345336" y="5884307"/>
                  <a:pt x="10323538" y="5901382"/>
                </a:cubicBezTo>
                <a:cubicBezTo>
                  <a:pt x="10344158" y="5919654"/>
                  <a:pt x="10365071" y="5938072"/>
                  <a:pt x="10386279" y="5956638"/>
                </a:cubicBezTo>
                <a:cubicBezTo>
                  <a:pt x="10407487" y="5975205"/>
                  <a:pt x="10428695" y="5993769"/>
                  <a:pt x="10449903" y="6012330"/>
                </a:cubicBezTo>
                <a:cubicBezTo>
                  <a:pt x="10471111" y="6030892"/>
                  <a:pt x="10492319" y="6049308"/>
                  <a:pt x="10513527" y="6067580"/>
                </a:cubicBezTo>
                <a:cubicBezTo>
                  <a:pt x="10534735" y="6085852"/>
                  <a:pt x="10555649" y="6104124"/>
                  <a:pt x="10576267" y="6122395"/>
                </a:cubicBezTo>
                <a:lnTo>
                  <a:pt x="11405568" y="6858001"/>
                </a:lnTo>
                <a:lnTo>
                  <a:pt x="10615100" y="6858001"/>
                </a:lnTo>
                <a:lnTo>
                  <a:pt x="9747387" y="6038406"/>
                </a:lnTo>
                <a:lnTo>
                  <a:pt x="9747387" y="6858001"/>
                </a:lnTo>
                <a:lnTo>
                  <a:pt x="9179190" y="6858001"/>
                </a:lnTo>
                <a:close/>
                <a:moveTo>
                  <a:pt x="347646" y="4268807"/>
                </a:moveTo>
                <a:lnTo>
                  <a:pt x="1621894" y="4268807"/>
                </a:lnTo>
                <a:cubicBezTo>
                  <a:pt x="1789791" y="4268807"/>
                  <a:pt x="1942223" y="4283241"/>
                  <a:pt x="2079192" y="4312107"/>
                </a:cubicBezTo>
                <a:cubicBezTo>
                  <a:pt x="2216160" y="4340974"/>
                  <a:pt x="2338549" y="4382211"/>
                  <a:pt x="2446355" y="4435820"/>
                </a:cubicBezTo>
                <a:cubicBezTo>
                  <a:pt x="2554163" y="4489429"/>
                  <a:pt x="2647684" y="4554379"/>
                  <a:pt x="2726920" y="4630669"/>
                </a:cubicBezTo>
                <a:cubicBezTo>
                  <a:pt x="2806155" y="4706959"/>
                  <a:pt x="2871694" y="4792822"/>
                  <a:pt x="2923536" y="4888258"/>
                </a:cubicBezTo>
                <a:cubicBezTo>
                  <a:pt x="2975378" y="4983694"/>
                  <a:pt x="3013964" y="5087378"/>
                  <a:pt x="3039296" y="5199309"/>
                </a:cubicBezTo>
                <a:cubicBezTo>
                  <a:pt x="3064628" y="5311240"/>
                  <a:pt x="3077294" y="5429651"/>
                  <a:pt x="3077294" y="5554543"/>
                </a:cubicBezTo>
                <a:cubicBezTo>
                  <a:pt x="3077294" y="5677078"/>
                  <a:pt x="3064333" y="5795047"/>
                  <a:pt x="3038412" y="5908451"/>
                </a:cubicBezTo>
                <a:cubicBezTo>
                  <a:pt x="3012491" y="6021855"/>
                  <a:pt x="2973021" y="6128043"/>
                  <a:pt x="2920000" y="6227013"/>
                </a:cubicBezTo>
                <a:cubicBezTo>
                  <a:pt x="2866981" y="6325984"/>
                  <a:pt x="2799822" y="6416118"/>
                  <a:pt x="2718525" y="6497415"/>
                </a:cubicBezTo>
                <a:cubicBezTo>
                  <a:pt x="2637227" y="6578713"/>
                  <a:pt x="2541350" y="6648522"/>
                  <a:pt x="2430891" y="6706844"/>
                </a:cubicBezTo>
                <a:cubicBezTo>
                  <a:pt x="2320433" y="6765166"/>
                  <a:pt x="2194952" y="6810233"/>
                  <a:pt x="2054449" y="6842045"/>
                </a:cubicBezTo>
                <a:lnTo>
                  <a:pt x="1955220" y="6858001"/>
                </a:lnTo>
                <a:lnTo>
                  <a:pt x="347646" y="6858001"/>
                </a:lnTo>
                <a:close/>
                <a:moveTo>
                  <a:pt x="8680151" y="852550"/>
                </a:moveTo>
                <a:cubicBezTo>
                  <a:pt x="8607101" y="852550"/>
                  <a:pt x="8539647" y="860062"/>
                  <a:pt x="8477792" y="875084"/>
                </a:cubicBezTo>
                <a:cubicBezTo>
                  <a:pt x="8415934" y="890106"/>
                  <a:pt x="8361294" y="913229"/>
                  <a:pt x="8313871" y="944452"/>
                </a:cubicBezTo>
                <a:cubicBezTo>
                  <a:pt x="8266448" y="975675"/>
                  <a:pt x="8226829" y="1015145"/>
                  <a:pt x="8195018" y="1062863"/>
                </a:cubicBezTo>
                <a:cubicBezTo>
                  <a:pt x="8163205" y="1110581"/>
                  <a:pt x="8140525" y="1167136"/>
                  <a:pt x="8126976" y="1232527"/>
                </a:cubicBezTo>
                <a:lnTo>
                  <a:pt x="9237745" y="1232527"/>
                </a:lnTo>
                <a:cubicBezTo>
                  <a:pt x="9224195" y="1167136"/>
                  <a:pt x="9201367" y="1110581"/>
                  <a:pt x="9169261" y="1062863"/>
                </a:cubicBezTo>
                <a:cubicBezTo>
                  <a:pt x="9137155" y="1015145"/>
                  <a:pt x="9097095" y="975675"/>
                  <a:pt x="9049082" y="944452"/>
                </a:cubicBezTo>
                <a:cubicBezTo>
                  <a:pt x="9001069" y="913229"/>
                  <a:pt x="8945840" y="890106"/>
                  <a:pt x="8883395" y="875084"/>
                </a:cubicBezTo>
                <a:cubicBezTo>
                  <a:pt x="8820949" y="860062"/>
                  <a:pt x="8753202" y="852550"/>
                  <a:pt x="8680151" y="852550"/>
                </a:cubicBezTo>
                <a:close/>
                <a:moveTo>
                  <a:pt x="4517728" y="852550"/>
                </a:moveTo>
                <a:cubicBezTo>
                  <a:pt x="4444676" y="852550"/>
                  <a:pt x="4377225" y="860062"/>
                  <a:pt x="4315367" y="875084"/>
                </a:cubicBezTo>
                <a:cubicBezTo>
                  <a:pt x="4253511" y="890106"/>
                  <a:pt x="4198871" y="913229"/>
                  <a:pt x="4151447" y="944452"/>
                </a:cubicBezTo>
                <a:cubicBezTo>
                  <a:pt x="4104023" y="975675"/>
                  <a:pt x="4064406" y="1015145"/>
                  <a:pt x="4032594" y="1062863"/>
                </a:cubicBezTo>
                <a:cubicBezTo>
                  <a:pt x="4000782" y="1110581"/>
                  <a:pt x="3978101" y="1167136"/>
                  <a:pt x="3964552" y="1232527"/>
                </a:cubicBezTo>
                <a:lnTo>
                  <a:pt x="5075321" y="1232527"/>
                </a:lnTo>
                <a:cubicBezTo>
                  <a:pt x="5061771" y="1167136"/>
                  <a:pt x="5038944" y="1110581"/>
                  <a:pt x="5006838" y="1062863"/>
                </a:cubicBezTo>
                <a:cubicBezTo>
                  <a:pt x="4974731" y="1015145"/>
                  <a:pt x="4934671" y="975675"/>
                  <a:pt x="4886659" y="944452"/>
                </a:cubicBezTo>
                <a:cubicBezTo>
                  <a:pt x="4838646" y="913229"/>
                  <a:pt x="4783416" y="890106"/>
                  <a:pt x="4720972" y="875084"/>
                </a:cubicBezTo>
                <a:cubicBezTo>
                  <a:pt x="4658526" y="860062"/>
                  <a:pt x="4590776" y="852550"/>
                  <a:pt x="4517728" y="852550"/>
                </a:cubicBezTo>
                <a:close/>
                <a:moveTo>
                  <a:pt x="2264041" y="508804"/>
                </a:moveTo>
                <a:lnTo>
                  <a:pt x="2832239" y="508804"/>
                </a:lnTo>
                <a:lnTo>
                  <a:pt x="2832239" y="2365388"/>
                </a:lnTo>
                <a:lnTo>
                  <a:pt x="2264041" y="2365388"/>
                </a:lnTo>
                <a:close/>
                <a:moveTo>
                  <a:pt x="11655254" y="450482"/>
                </a:moveTo>
                <a:cubicBezTo>
                  <a:pt x="11737729" y="450482"/>
                  <a:pt x="11818142" y="455489"/>
                  <a:pt x="11896495" y="465504"/>
                </a:cubicBezTo>
                <a:cubicBezTo>
                  <a:pt x="11974846" y="475519"/>
                  <a:pt x="12048632" y="492456"/>
                  <a:pt x="12117853" y="516315"/>
                </a:cubicBezTo>
                <a:lnTo>
                  <a:pt x="12192001" y="547588"/>
                </a:lnTo>
                <a:lnTo>
                  <a:pt x="12192001" y="2365388"/>
                </a:lnTo>
                <a:lnTo>
                  <a:pt x="12021092" y="2365388"/>
                </a:lnTo>
                <a:lnTo>
                  <a:pt x="12021092" y="1344753"/>
                </a:lnTo>
                <a:cubicBezTo>
                  <a:pt x="12021092" y="1266990"/>
                  <a:pt x="12011960" y="1199390"/>
                  <a:pt x="11993698" y="1141951"/>
                </a:cubicBezTo>
                <a:cubicBezTo>
                  <a:pt x="11975434" y="1084513"/>
                  <a:pt x="11946715" y="1036795"/>
                  <a:pt x="11907540" y="998797"/>
                </a:cubicBezTo>
                <a:cubicBezTo>
                  <a:pt x="11868364" y="960800"/>
                  <a:pt x="11818142" y="932375"/>
                  <a:pt x="11756875" y="913523"/>
                </a:cubicBezTo>
                <a:cubicBezTo>
                  <a:pt x="11695607" y="894672"/>
                  <a:pt x="11621968" y="885246"/>
                  <a:pt x="11535958" y="885246"/>
                </a:cubicBezTo>
                <a:cubicBezTo>
                  <a:pt x="11468210" y="885246"/>
                  <a:pt x="11404880" y="889517"/>
                  <a:pt x="11345970" y="898059"/>
                </a:cubicBezTo>
                <a:cubicBezTo>
                  <a:pt x="11287059" y="906602"/>
                  <a:pt x="11231977" y="917942"/>
                  <a:pt x="11180724" y="932081"/>
                </a:cubicBezTo>
                <a:cubicBezTo>
                  <a:pt x="11129472" y="946219"/>
                  <a:pt x="11081458" y="962715"/>
                  <a:pt x="11036687" y="981566"/>
                </a:cubicBezTo>
                <a:cubicBezTo>
                  <a:pt x="10991913" y="1000418"/>
                  <a:pt x="10949497" y="1020153"/>
                  <a:pt x="10909439" y="1040772"/>
                </a:cubicBezTo>
                <a:lnTo>
                  <a:pt x="10909439" y="2365388"/>
                </a:lnTo>
                <a:lnTo>
                  <a:pt x="10341241" y="2365388"/>
                </a:lnTo>
                <a:lnTo>
                  <a:pt x="10341241" y="508804"/>
                </a:lnTo>
                <a:lnTo>
                  <a:pt x="10837862" y="508804"/>
                </a:lnTo>
                <a:lnTo>
                  <a:pt x="10877627" y="721768"/>
                </a:lnTo>
                <a:cubicBezTo>
                  <a:pt x="10924754" y="679352"/>
                  <a:pt x="10976890" y="641354"/>
                  <a:pt x="11034036" y="607775"/>
                </a:cubicBezTo>
                <a:cubicBezTo>
                  <a:pt x="11091179" y="574196"/>
                  <a:pt x="11152447" y="545771"/>
                  <a:pt x="11217838" y="522501"/>
                </a:cubicBezTo>
                <a:cubicBezTo>
                  <a:pt x="11283230" y="499231"/>
                  <a:pt x="11352598" y="481410"/>
                  <a:pt x="11425942" y="469039"/>
                </a:cubicBezTo>
                <a:cubicBezTo>
                  <a:pt x="11499286" y="456668"/>
                  <a:pt x="11575724" y="450482"/>
                  <a:pt x="11655254" y="450482"/>
                </a:cubicBezTo>
                <a:close/>
                <a:moveTo>
                  <a:pt x="8680151" y="450482"/>
                </a:moveTo>
                <a:cubicBezTo>
                  <a:pt x="8812700" y="450482"/>
                  <a:pt x="8933027" y="461823"/>
                  <a:pt x="9041129" y="484503"/>
                </a:cubicBezTo>
                <a:cubicBezTo>
                  <a:pt x="9149231" y="507184"/>
                  <a:pt x="9245551" y="539143"/>
                  <a:pt x="9330088" y="580381"/>
                </a:cubicBezTo>
                <a:cubicBezTo>
                  <a:pt x="9414625" y="621619"/>
                  <a:pt x="9487675" y="671252"/>
                  <a:pt x="9549238" y="729279"/>
                </a:cubicBezTo>
                <a:cubicBezTo>
                  <a:pt x="9610799" y="787307"/>
                  <a:pt x="9661758" y="851814"/>
                  <a:pt x="9702112" y="922802"/>
                </a:cubicBezTo>
                <a:cubicBezTo>
                  <a:pt x="9742467" y="993790"/>
                  <a:pt x="9772364" y="1070375"/>
                  <a:pt x="9791804" y="1152556"/>
                </a:cubicBezTo>
                <a:cubicBezTo>
                  <a:pt x="9811245" y="1234737"/>
                  <a:pt x="9820966" y="1320599"/>
                  <a:pt x="9820966" y="1410144"/>
                </a:cubicBezTo>
                <a:cubicBezTo>
                  <a:pt x="9820966" y="1427229"/>
                  <a:pt x="9820671" y="1443577"/>
                  <a:pt x="9820082" y="1459188"/>
                </a:cubicBezTo>
                <a:cubicBezTo>
                  <a:pt x="9819492" y="1474799"/>
                  <a:pt x="9818755" y="1489969"/>
                  <a:pt x="9817873" y="1504697"/>
                </a:cubicBezTo>
                <a:cubicBezTo>
                  <a:pt x="9816988" y="1519425"/>
                  <a:pt x="9815810" y="1533269"/>
                  <a:pt x="9814338" y="1546229"/>
                </a:cubicBezTo>
                <a:cubicBezTo>
                  <a:pt x="9812865" y="1559190"/>
                  <a:pt x="9811244" y="1571561"/>
                  <a:pt x="9809478" y="1583343"/>
                </a:cubicBezTo>
                <a:lnTo>
                  <a:pt x="8119023" y="1583343"/>
                </a:lnTo>
                <a:cubicBezTo>
                  <a:pt x="8126092" y="1645789"/>
                  <a:pt x="8144207" y="1702049"/>
                  <a:pt x="8173368" y="1752123"/>
                </a:cubicBezTo>
                <a:cubicBezTo>
                  <a:pt x="8202529" y="1802198"/>
                  <a:pt x="8244209" y="1844761"/>
                  <a:pt x="8298407" y="1879813"/>
                </a:cubicBezTo>
                <a:cubicBezTo>
                  <a:pt x="8352605" y="1914866"/>
                  <a:pt x="8420352" y="1941817"/>
                  <a:pt x="8501651" y="1960669"/>
                </a:cubicBezTo>
                <a:cubicBezTo>
                  <a:pt x="8582947" y="1979521"/>
                  <a:pt x="8679856" y="1988946"/>
                  <a:pt x="8792377" y="1988946"/>
                </a:cubicBezTo>
                <a:cubicBezTo>
                  <a:pt x="8873674" y="1988946"/>
                  <a:pt x="8954382" y="1985264"/>
                  <a:pt x="9034502" y="1977900"/>
                </a:cubicBezTo>
                <a:cubicBezTo>
                  <a:pt x="9114620" y="1970536"/>
                  <a:pt x="9191647" y="1960227"/>
                  <a:pt x="9265581" y="1946972"/>
                </a:cubicBezTo>
                <a:cubicBezTo>
                  <a:pt x="9339513" y="1933717"/>
                  <a:pt x="9409323" y="1918106"/>
                  <a:pt x="9475010" y="1900138"/>
                </a:cubicBezTo>
                <a:cubicBezTo>
                  <a:pt x="9540695" y="1882170"/>
                  <a:pt x="9600343" y="1862287"/>
                  <a:pt x="9653952" y="1840490"/>
                </a:cubicBezTo>
                <a:lnTo>
                  <a:pt x="9653952" y="2246093"/>
                </a:lnTo>
                <a:cubicBezTo>
                  <a:pt x="9600343" y="2272603"/>
                  <a:pt x="9537897" y="2296462"/>
                  <a:pt x="9466615" y="2317670"/>
                </a:cubicBezTo>
                <a:cubicBezTo>
                  <a:pt x="9395332" y="2338878"/>
                  <a:pt x="9319190" y="2356994"/>
                  <a:pt x="9238187" y="2372016"/>
                </a:cubicBezTo>
                <a:cubicBezTo>
                  <a:pt x="9157184" y="2387038"/>
                  <a:pt x="9073088" y="2398673"/>
                  <a:pt x="8985900" y="2406920"/>
                </a:cubicBezTo>
                <a:cubicBezTo>
                  <a:pt x="8898711" y="2415168"/>
                  <a:pt x="8812700" y="2419292"/>
                  <a:pt x="8727869" y="2419292"/>
                </a:cubicBezTo>
                <a:cubicBezTo>
                  <a:pt x="8595318" y="2419292"/>
                  <a:pt x="8473962" y="2408099"/>
                  <a:pt x="8363799" y="2385713"/>
                </a:cubicBezTo>
                <a:cubicBezTo>
                  <a:pt x="8253634" y="2363327"/>
                  <a:pt x="8154664" y="2331662"/>
                  <a:pt x="8066887" y="2290718"/>
                </a:cubicBezTo>
                <a:cubicBezTo>
                  <a:pt x="7979108" y="2249775"/>
                  <a:pt x="7902523" y="2200143"/>
                  <a:pt x="7837133" y="2141821"/>
                </a:cubicBezTo>
                <a:cubicBezTo>
                  <a:pt x="7771741" y="2083499"/>
                  <a:pt x="7717249" y="2018255"/>
                  <a:pt x="7673655" y="1946088"/>
                </a:cubicBezTo>
                <a:cubicBezTo>
                  <a:pt x="7630060" y="1873922"/>
                  <a:pt x="7597512" y="1795865"/>
                  <a:pt x="7576010" y="1711917"/>
                </a:cubicBezTo>
                <a:cubicBezTo>
                  <a:pt x="7554507" y="1627969"/>
                  <a:pt x="7543756" y="1539454"/>
                  <a:pt x="7543756" y="1446375"/>
                </a:cubicBezTo>
                <a:cubicBezTo>
                  <a:pt x="7543756" y="1359186"/>
                  <a:pt x="7553624" y="1273913"/>
                  <a:pt x="7573359" y="1190553"/>
                </a:cubicBezTo>
                <a:cubicBezTo>
                  <a:pt x="7593093" y="1107194"/>
                  <a:pt x="7623285" y="1028695"/>
                  <a:pt x="7663934" y="955056"/>
                </a:cubicBezTo>
                <a:cubicBezTo>
                  <a:pt x="7704582" y="881417"/>
                  <a:pt x="7755835" y="813669"/>
                  <a:pt x="7817692" y="751812"/>
                </a:cubicBezTo>
                <a:cubicBezTo>
                  <a:pt x="7879548" y="689956"/>
                  <a:pt x="7952450" y="636641"/>
                  <a:pt x="8036400" y="591869"/>
                </a:cubicBezTo>
                <a:cubicBezTo>
                  <a:pt x="8120347" y="547097"/>
                  <a:pt x="8215931" y="512339"/>
                  <a:pt x="8323150" y="487596"/>
                </a:cubicBezTo>
                <a:cubicBezTo>
                  <a:pt x="8430368" y="462853"/>
                  <a:pt x="8549368" y="450482"/>
                  <a:pt x="8680151" y="450482"/>
                </a:cubicBezTo>
                <a:close/>
                <a:moveTo>
                  <a:pt x="4517728" y="450482"/>
                </a:moveTo>
                <a:cubicBezTo>
                  <a:pt x="4650278" y="450482"/>
                  <a:pt x="4770603" y="461823"/>
                  <a:pt x="4878705" y="484503"/>
                </a:cubicBezTo>
                <a:cubicBezTo>
                  <a:pt x="4986806" y="507184"/>
                  <a:pt x="5083127" y="539143"/>
                  <a:pt x="5167664" y="580381"/>
                </a:cubicBezTo>
                <a:cubicBezTo>
                  <a:pt x="5252201" y="621619"/>
                  <a:pt x="5325252" y="671252"/>
                  <a:pt x="5386814" y="729279"/>
                </a:cubicBezTo>
                <a:cubicBezTo>
                  <a:pt x="5448375" y="787307"/>
                  <a:pt x="5499334" y="851814"/>
                  <a:pt x="5539687" y="922802"/>
                </a:cubicBezTo>
                <a:cubicBezTo>
                  <a:pt x="5580043" y="993790"/>
                  <a:pt x="5609938" y="1070375"/>
                  <a:pt x="5629379" y="1152556"/>
                </a:cubicBezTo>
                <a:cubicBezTo>
                  <a:pt x="5648820" y="1234737"/>
                  <a:pt x="5658540" y="1320599"/>
                  <a:pt x="5658540" y="1410144"/>
                </a:cubicBezTo>
                <a:cubicBezTo>
                  <a:pt x="5658540" y="1427229"/>
                  <a:pt x="5658245" y="1443577"/>
                  <a:pt x="5657657" y="1459188"/>
                </a:cubicBezTo>
                <a:cubicBezTo>
                  <a:pt x="5657070" y="1474799"/>
                  <a:pt x="5656331" y="1489969"/>
                  <a:pt x="5655449" y="1504697"/>
                </a:cubicBezTo>
                <a:cubicBezTo>
                  <a:pt x="5654565" y="1519425"/>
                  <a:pt x="5653387" y="1533269"/>
                  <a:pt x="5651914" y="1546229"/>
                </a:cubicBezTo>
                <a:cubicBezTo>
                  <a:pt x="5650441" y="1559190"/>
                  <a:pt x="5648820" y="1571561"/>
                  <a:pt x="5647052" y="1583343"/>
                </a:cubicBezTo>
                <a:lnTo>
                  <a:pt x="3956599" y="1583343"/>
                </a:lnTo>
                <a:cubicBezTo>
                  <a:pt x="3963668" y="1645789"/>
                  <a:pt x="3981783" y="1702049"/>
                  <a:pt x="4010944" y="1752123"/>
                </a:cubicBezTo>
                <a:cubicBezTo>
                  <a:pt x="4040105" y="1802198"/>
                  <a:pt x="4081785" y="1844761"/>
                  <a:pt x="4135983" y="1879813"/>
                </a:cubicBezTo>
                <a:cubicBezTo>
                  <a:pt x="4190180" y="1914866"/>
                  <a:pt x="4257930" y="1941817"/>
                  <a:pt x="4339226" y="1960669"/>
                </a:cubicBezTo>
                <a:cubicBezTo>
                  <a:pt x="4420524" y="1979521"/>
                  <a:pt x="4517433" y="1988946"/>
                  <a:pt x="4629955" y="1988946"/>
                </a:cubicBezTo>
                <a:cubicBezTo>
                  <a:pt x="4711249" y="1988946"/>
                  <a:pt x="4791959" y="1985264"/>
                  <a:pt x="4872079" y="1977900"/>
                </a:cubicBezTo>
                <a:cubicBezTo>
                  <a:pt x="4952197" y="1970536"/>
                  <a:pt x="5029222" y="1960227"/>
                  <a:pt x="5103157" y="1946972"/>
                </a:cubicBezTo>
                <a:cubicBezTo>
                  <a:pt x="5177090" y="1933717"/>
                  <a:pt x="5246899" y="1918106"/>
                  <a:pt x="5312586" y="1900138"/>
                </a:cubicBezTo>
                <a:cubicBezTo>
                  <a:pt x="5378271" y="1882170"/>
                  <a:pt x="5437920" y="1862287"/>
                  <a:pt x="5491527" y="1840490"/>
                </a:cubicBezTo>
                <a:lnTo>
                  <a:pt x="5491527" y="2246093"/>
                </a:lnTo>
                <a:cubicBezTo>
                  <a:pt x="5437920" y="2272603"/>
                  <a:pt x="5375474" y="2296462"/>
                  <a:pt x="5304192" y="2317670"/>
                </a:cubicBezTo>
                <a:cubicBezTo>
                  <a:pt x="5232908" y="2338878"/>
                  <a:pt x="5156765" y="2356994"/>
                  <a:pt x="5075763" y="2372016"/>
                </a:cubicBezTo>
                <a:cubicBezTo>
                  <a:pt x="4994760" y="2387038"/>
                  <a:pt x="4910664" y="2398673"/>
                  <a:pt x="4823476" y="2406920"/>
                </a:cubicBezTo>
                <a:cubicBezTo>
                  <a:pt x="4736288" y="2415168"/>
                  <a:pt x="4650278" y="2419292"/>
                  <a:pt x="4565446" y="2419292"/>
                </a:cubicBezTo>
                <a:cubicBezTo>
                  <a:pt x="4432896" y="2419292"/>
                  <a:pt x="4311538" y="2408099"/>
                  <a:pt x="4201376" y="2385713"/>
                </a:cubicBezTo>
                <a:cubicBezTo>
                  <a:pt x="4091210" y="2363327"/>
                  <a:pt x="3992239" y="2331662"/>
                  <a:pt x="3904463" y="2290718"/>
                </a:cubicBezTo>
                <a:cubicBezTo>
                  <a:pt x="3816684" y="2249775"/>
                  <a:pt x="3740100" y="2200143"/>
                  <a:pt x="3674709" y="2141821"/>
                </a:cubicBezTo>
                <a:cubicBezTo>
                  <a:pt x="3609317" y="2083499"/>
                  <a:pt x="3554824" y="2018255"/>
                  <a:pt x="3511230" y="1946088"/>
                </a:cubicBezTo>
                <a:cubicBezTo>
                  <a:pt x="3467636" y="1873922"/>
                  <a:pt x="3435087" y="1795865"/>
                  <a:pt x="3413585" y="1711917"/>
                </a:cubicBezTo>
                <a:cubicBezTo>
                  <a:pt x="3392082" y="1627969"/>
                  <a:pt x="3381331" y="1539454"/>
                  <a:pt x="3381331" y="1446375"/>
                </a:cubicBezTo>
                <a:cubicBezTo>
                  <a:pt x="3381331" y="1359186"/>
                  <a:pt x="3391199" y="1273913"/>
                  <a:pt x="3410934" y="1190553"/>
                </a:cubicBezTo>
                <a:cubicBezTo>
                  <a:pt x="3430669" y="1107194"/>
                  <a:pt x="3460861" y="1028695"/>
                  <a:pt x="3501510" y="955056"/>
                </a:cubicBezTo>
                <a:cubicBezTo>
                  <a:pt x="3542159" y="881417"/>
                  <a:pt x="3593411" y="813669"/>
                  <a:pt x="3655268" y="751812"/>
                </a:cubicBezTo>
                <a:cubicBezTo>
                  <a:pt x="3717124" y="689956"/>
                  <a:pt x="3790027" y="636641"/>
                  <a:pt x="3873976" y="591869"/>
                </a:cubicBezTo>
                <a:cubicBezTo>
                  <a:pt x="3957924" y="547097"/>
                  <a:pt x="4053507" y="512339"/>
                  <a:pt x="4160726" y="487596"/>
                </a:cubicBezTo>
                <a:cubicBezTo>
                  <a:pt x="4267944" y="462853"/>
                  <a:pt x="4386944" y="450482"/>
                  <a:pt x="4517728" y="450482"/>
                </a:cubicBezTo>
                <a:close/>
                <a:moveTo>
                  <a:pt x="6157609" y="0"/>
                </a:moveTo>
                <a:lnTo>
                  <a:pt x="6725806" y="0"/>
                </a:lnTo>
                <a:lnTo>
                  <a:pt x="6725806" y="1760960"/>
                </a:lnTo>
                <a:cubicBezTo>
                  <a:pt x="6725806" y="1793361"/>
                  <a:pt x="6728752" y="1822817"/>
                  <a:pt x="6734642" y="1849327"/>
                </a:cubicBezTo>
                <a:cubicBezTo>
                  <a:pt x="6740534" y="1875837"/>
                  <a:pt x="6752904" y="1898370"/>
                  <a:pt x="6771756" y="1916927"/>
                </a:cubicBezTo>
                <a:cubicBezTo>
                  <a:pt x="6790608" y="1935484"/>
                  <a:pt x="6817559" y="1949770"/>
                  <a:pt x="6852612" y="1959785"/>
                </a:cubicBezTo>
                <a:cubicBezTo>
                  <a:pt x="6887663" y="1969800"/>
                  <a:pt x="6934645" y="1974808"/>
                  <a:pt x="6993557" y="1974808"/>
                </a:cubicBezTo>
                <a:cubicBezTo>
                  <a:pt x="7048343" y="1974808"/>
                  <a:pt x="7099892" y="1970831"/>
                  <a:pt x="7148198" y="1962878"/>
                </a:cubicBezTo>
                <a:cubicBezTo>
                  <a:pt x="7196506" y="1954925"/>
                  <a:pt x="7242751" y="1945647"/>
                  <a:pt x="7286935" y="1935043"/>
                </a:cubicBezTo>
                <a:lnTo>
                  <a:pt x="7286935" y="2332693"/>
                </a:lnTo>
                <a:cubicBezTo>
                  <a:pt x="7256301" y="2344475"/>
                  <a:pt x="7221984" y="2355226"/>
                  <a:pt x="7183987" y="2364947"/>
                </a:cubicBezTo>
                <a:cubicBezTo>
                  <a:pt x="7145989" y="2374667"/>
                  <a:pt x="7106077" y="2383062"/>
                  <a:pt x="7064249" y="2390131"/>
                </a:cubicBezTo>
                <a:cubicBezTo>
                  <a:pt x="7022423" y="2397200"/>
                  <a:pt x="6979417" y="2402650"/>
                  <a:pt x="6935235" y="2406479"/>
                </a:cubicBezTo>
                <a:cubicBezTo>
                  <a:pt x="6891051" y="2410308"/>
                  <a:pt x="6847752" y="2412223"/>
                  <a:pt x="6805336" y="2412223"/>
                </a:cubicBezTo>
                <a:cubicBezTo>
                  <a:pt x="6687514" y="2412223"/>
                  <a:pt x="6587659" y="2399262"/>
                  <a:pt x="6505773" y="2373342"/>
                </a:cubicBezTo>
                <a:cubicBezTo>
                  <a:pt x="6423887" y="2347420"/>
                  <a:pt x="6357022" y="2309865"/>
                  <a:pt x="6305180" y="2260674"/>
                </a:cubicBezTo>
                <a:cubicBezTo>
                  <a:pt x="6253338" y="2211483"/>
                  <a:pt x="6215782" y="2151246"/>
                  <a:pt x="6192514" y="2079964"/>
                </a:cubicBezTo>
                <a:cubicBezTo>
                  <a:pt x="6169242" y="2008682"/>
                  <a:pt x="6157609" y="1927679"/>
                  <a:pt x="6157609" y="1836955"/>
                </a:cubicBezTo>
                <a:close/>
                <a:moveTo>
                  <a:pt x="2264041" y="0"/>
                </a:moveTo>
                <a:lnTo>
                  <a:pt x="2832239" y="0"/>
                </a:lnTo>
                <a:lnTo>
                  <a:pt x="2832239" y="237518"/>
                </a:lnTo>
                <a:lnTo>
                  <a:pt x="2264041" y="237518"/>
                </a:lnTo>
                <a:close/>
                <a:moveTo>
                  <a:pt x="1165266" y="0"/>
                </a:moveTo>
                <a:lnTo>
                  <a:pt x="1795460" y="0"/>
                </a:lnTo>
                <a:lnTo>
                  <a:pt x="599681" y="2365388"/>
                </a:lnTo>
                <a:lnTo>
                  <a:pt x="0" y="2365388"/>
                </a:lnTo>
                <a:lnTo>
                  <a:pt x="0" y="1139294"/>
                </a:lnTo>
                <a:lnTo>
                  <a:pt x="176267" y="1507348"/>
                </a:lnTo>
                <a:cubicBezTo>
                  <a:pt x="198073" y="1554477"/>
                  <a:pt x="220321" y="1601606"/>
                  <a:pt x="243011" y="1648734"/>
                </a:cubicBezTo>
                <a:cubicBezTo>
                  <a:pt x="265701" y="1695864"/>
                  <a:pt x="287949" y="1742992"/>
                  <a:pt x="309756" y="1790121"/>
                </a:cubicBezTo>
                <a:cubicBezTo>
                  <a:pt x="331562" y="1742403"/>
                  <a:pt x="353957" y="1695274"/>
                  <a:pt x="376942" y="1648734"/>
                </a:cubicBezTo>
                <a:cubicBezTo>
                  <a:pt x="399926" y="1602195"/>
                  <a:pt x="422322" y="1555066"/>
                  <a:pt x="444128" y="1507348"/>
                </a:cubicBezTo>
                <a:close/>
              </a:path>
            </a:pathLst>
          </a:custGeom>
          <a:solidFill>
            <a:schemeClr val="tx1">
              <a:alpha val="3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</a:pPr>
            <a:endParaRPr lang="de-DE" sz="28500" b="1" i="0">
              <a:solidFill>
                <a:schemeClr val="tx1">
                  <a:alpha val="7000"/>
                </a:schemeClr>
              </a:solidFill>
              <a:latin typeface="Audi Type Extended" panose="020B0503040200000003" pitchFamily="34" charset="0"/>
              <a:cs typeface="Audi Type Extended" panose="020B0503040200000003" pitchFamily="34" charset="0"/>
            </a:endParaRP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10057252-30AD-4E42-A04A-1C201DDF4C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5845" y="3297957"/>
            <a:ext cx="9232900" cy="852805"/>
          </a:xfrm>
        </p:spPr>
        <p:txBody>
          <a:bodyPr anchor="ctr"/>
          <a:lstStyle>
            <a:lvl1pPr algn="r">
              <a:defRPr sz="6800" b="1" i="0">
                <a:solidFill>
                  <a:schemeClr val="tx1"/>
                </a:solidFill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62072446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1 (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4468478"/>
            <a:ext cx="113411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Ort | Datum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286245"/>
            <a:ext cx="11341099" cy="734426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der Präsentation</a:t>
            </a:r>
            <a:br>
              <a:rPr lang="de-DE" noProof="0"/>
            </a:br>
            <a:r>
              <a:rPr lang="de-DE" noProof="0"/>
              <a:t>(maximal zwei-zeilig)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23960F2D-F1B0-0B44-B659-256C873FDDD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19433" y="2347570"/>
            <a:ext cx="1960658" cy="680464"/>
          </a:xfrm>
          <a:custGeom>
            <a:avLst/>
            <a:gdLst>
              <a:gd name="T0" fmla="*/ 2147483647 w 3769"/>
              <a:gd name="T1" fmla="*/ 2147483647 h 1303"/>
              <a:gd name="T2" fmla="*/ 2147483647 w 3769"/>
              <a:gd name="T3" fmla="*/ 2147483647 h 1303"/>
              <a:gd name="T4" fmla="*/ 2147483647 w 3769"/>
              <a:gd name="T5" fmla="*/ 2147483647 h 1303"/>
              <a:gd name="T6" fmla="*/ 2147483647 w 3769"/>
              <a:gd name="T7" fmla="*/ 2147483647 h 1303"/>
              <a:gd name="T8" fmla="*/ 2147483647 w 3769"/>
              <a:gd name="T9" fmla="*/ 2147483647 h 1303"/>
              <a:gd name="T10" fmla="*/ 2147483647 w 3769"/>
              <a:gd name="T11" fmla="*/ 2147483647 h 1303"/>
              <a:gd name="T12" fmla="*/ 2147483647 w 3769"/>
              <a:gd name="T13" fmla="*/ 2147483647 h 1303"/>
              <a:gd name="T14" fmla="*/ 2147483647 w 3769"/>
              <a:gd name="T15" fmla="*/ 2147483647 h 1303"/>
              <a:gd name="T16" fmla="*/ 2147483647 w 3769"/>
              <a:gd name="T17" fmla="*/ 2147483647 h 1303"/>
              <a:gd name="T18" fmla="*/ 2147483647 w 3769"/>
              <a:gd name="T19" fmla="*/ 2147483647 h 1303"/>
              <a:gd name="T20" fmla="*/ 2147483647 w 3769"/>
              <a:gd name="T21" fmla="*/ 2147483647 h 1303"/>
              <a:gd name="T22" fmla="*/ 2147483647 w 3769"/>
              <a:gd name="T23" fmla="*/ 2147483647 h 1303"/>
              <a:gd name="T24" fmla="*/ 2147483647 w 3769"/>
              <a:gd name="T25" fmla="*/ 2147483647 h 1303"/>
              <a:gd name="T26" fmla="*/ 2147483647 w 3769"/>
              <a:gd name="T27" fmla="*/ 2147483647 h 1303"/>
              <a:gd name="T28" fmla="*/ 2147483647 w 3769"/>
              <a:gd name="T29" fmla="*/ 2147483647 h 1303"/>
              <a:gd name="T30" fmla="*/ 2147483647 w 3769"/>
              <a:gd name="T31" fmla="*/ 2147483647 h 1303"/>
              <a:gd name="T32" fmla="*/ 2147483647 w 3769"/>
              <a:gd name="T33" fmla="*/ 2147483647 h 1303"/>
              <a:gd name="T34" fmla="*/ 2147483647 w 3769"/>
              <a:gd name="T35" fmla="*/ 2147483647 h 1303"/>
              <a:gd name="T36" fmla="*/ 2147483647 w 3769"/>
              <a:gd name="T37" fmla="*/ 2147483647 h 1303"/>
              <a:gd name="T38" fmla="*/ 2147483647 w 3769"/>
              <a:gd name="T39" fmla="*/ 2147483647 h 1303"/>
              <a:gd name="T40" fmla="*/ 2147483647 w 3769"/>
              <a:gd name="T41" fmla="*/ 2147483647 h 1303"/>
              <a:gd name="T42" fmla="*/ 2147483647 w 3769"/>
              <a:gd name="T43" fmla="*/ 2147483647 h 1303"/>
              <a:gd name="T44" fmla="*/ 2147483647 w 3769"/>
              <a:gd name="T45" fmla="*/ 2147483647 h 1303"/>
              <a:gd name="T46" fmla="*/ 2147483647 w 3769"/>
              <a:gd name="T47" fmla="*/ 2147483647 h 1303"/>
              <a:gd name="T48" fmla="*/ 2147483647 w 3769"/>
              <a:gd name="T49" fmla="*/ 2147483647 h 1303"/>
              <a:gd name="T50" fmla="*/ 2147483647 w 3769"/>
              <a:gd name="T51" fmla="*/ 2147483647 h 1303"/>
              <a:gd name="T52" fmla="*/ 2147483647 w 3769"/>
              <a:gd name="T53" fmla="*/ 2147483647 h 1303"/>
              <a:gd name="T54" fmla="*/ 2147483647 w 3769"/>
              <a:gd name="T55" fmla="*/ 2147483647 h 1303"/>
              <a:gd name="T56" fmla="*/ 2147483647 w 3769"/>
              <a:gd name="T57" fmla="*/ 2147483647 h 1303"/>
              <a:gd name="T58" fmla="*/ 2147483647 w 3769"/>
              <a:gd name="T59" fmla="*/ 2147483647 h 1303"/>
              <a:gd name="T60" fmla="*/ 2147483647 w 3769"/>
              <a:gd name="T61" fmla="*/ 0 h 1303"/>
              <a:gd name="T62" fmla="*/ 2147483647 w 3769"/>
              <a:gd name="T63" fmla="*/ 2147483647 h 1303"/>
              <a:gd name="T64" fmla="*/ 2147483647 w 3769"/>
              <a:gd name="T65" fmla="*/ 2147483647 h 1303"/>
              <a:gd name="T66" fmla="*/ 2147483647 w 3769"/>
              <a:gd name="T67" fmla="*/ 2147483647 h 1303"/>
              <a:gd name="T68" fmla="*/ 0 w 3769"/>
              <a:gd name="T69" fmla="*/ 2147483647 h 1303"/>
              <a:gd name="T70" fmla="*/ 2147483647 w 3769"/>
              <a:gd name="T71" fmla="*/ 2147483647 h 1303"/>
              <a:gd name="T72" fmla="*/ 2147483647 w 3769"/>
              <a:gd name="T73" fmla="*/ 2147483647 h 1303"/>
              <a:gd name="T74" fmla="*/ 2147483647 w 3769"/>
              <a:gd name="T75" fmla="*/ 2147483647 h 1303"/>
              <a:gd name="T76" fmla="*/ 2147483647 w 3769"/>
              <a:gd name="T77" fmla="*/ 2147483647 h 130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3769" h="1303">
                <a:moveTo>
                  <a:pt x="3117" y="1156"/>
                </a:moveTo>
                <a:lnTo>
                  <a:pt x="3117" y="1156"/>
                </a:lnTo>
                <a:cubicBezTo>
                  <a:pt x="3002" y="1156"/>
                  <a:pt x="2895" y="1117"/>
                  <a:pt x="2810" y="1052"/>
                </a:cubicBezTo>
                <a:cubicBezTo>
                  <a:pt x="2896" y="941"/>
                  <a:pt x="2948" y="802"/>
                  <a:pt x="2948" y="651"/>
                </a:cubicBezTo>
                <a:cubicBezTo>
                  <a:pt x="2948" y="500"/>
                  <a:pt x="2896" y="361"/>
                  <a:pt x="2810" y="251"/>
                </a:cubicBezTo>
                <a:cubicBezTo>
                  <a:pt x="2895" y="186"/>
                  <a:pt x="3002" y="147"/>
                  <a:pt x="3117" y="147"/>
                </a:cubicBezTo>
                <a:cubicBezTo>
                  <a:pt x="3396" y="147"/>
                  <a:pt x="3622" y="373"/>
                  <a:pt x="3622" y="651"/>
                </a:cubicBezTo>
                <a:cubicBezTo>
                  <a:pt x="3622" y="930"/>
                  <a:pt x="3396" y="1156"/>
                  <a:pt x="3117" y="1156"/>
                </a:cubicBezTo>
                <a:close/>
                <a:moveTo>
                  <a:pt x="1989" y="1052"/>
                </a:moveTo>
                <a:lnTo>
                  <a:pt x="1989" y="1052"/>
                </a:lnTo>
                <a:cubicBezTo>
                  <a:pt x="2075" y="941"/>
                  <a:pt x="2126" y="802"/>
                  <a:pt x="2126" y="651"/>
                </a:cubicBezTo>
                <a:cubicBezTo>
                  <a:pt x="2126" y="500"/>
                  <a:pt x="2075" y="361"/>
                  <a:pt x="1989" y="251"/>
                </a:cubicBezTo>
                <a:cubicBezTo>
                  <a:pt x="2074" y="186"/>
                  <a:pt x="2180" y="147"/>
                  <a:pt x="2296" y="147"/>
                </a:cubicBezTo>
                <a:cubicBezTo>
                  <a:pt x="2411" y="147"/>
                  <a:pt x="2518" y="186"/>
                  <a:pt x="2603" y="251"/>
                </a:cubicBezTo>
                <a:cubicBezTo>
                  <a:pt x="2517" y="362"/>
                  <a:pt x="2465" y="500"/>
                  <a:pt x="2465" y="651"/>
                </a:cubicBezTo>
                <a:cubicBezTo>
                  <a:pt x="2465" y="802"/>
                  <a:pt x="2517" y="941"/>
                  <a:pt x="2603" y="1052"/>
                </a:cubicBezTo>
                <a:cubicBezTo>
                  <a:pt x="2518" y="1117"/>
                  <a:pt x="2411" y="1156"/>
                  <a:pt x="2296" y="1156"/>
                </a:cubicBezTo>
                <a:cubicBezTo>
                  <a:pt x="2180" y="1156"/>
                  <a:pt x="2074" y="1117"/>
                  <a:pt x="1989" y="1052"/>
                </a:cubicBezTo>
                <a:close/>
                <a:moveTo>
                  <a:pt x="1167" y="1052"/>
                </a:moveTo>
                <a:lnTo>
                  <a:pt x="1167" y="1052"/>
                </a:lnTo>
                <a:cubicBezTo>
                  <a:pt x="1253" y="941"/>
                  <a:pt x="1305" y="802"/>
                  <a:pt x="1305" y="651"/>
                </a:cubicBezTo>
                <a:cubicBezTo>
                  <a:pt x="1305" y="500"/>
                  <a:pt x="1253" y="361"/>
                  <a:pt x="1167" y="251"/>
                </a:cubicBezTo>
                <a:cubicBezTo>
                  <a:pt x="1252" y="186"/>
                  <a:pt x="1359" y="147"/>
                  <a:pt x="1474" y="147"/>
                </a:cubicBezTo>
                <a:cubicBezTo>
                  <a:pt x="1590" y="147"/>
                  <a:pt x="1696" y="186"/>
                  <a:pt x="1781" y="251"/>
                </a:cubicBezTo>
                <a:cubicBezTo>
                  <a:pt x="1695" y="361"/>
                  <a:pt x="1644" y="500"/>
                  <a:pt x="1644" y="651"/>
                </a:cubicBezTo>
                <a:cubicBezTo>
                  <a:pt x="1644" y="802"/>
                  <a:pt x="1695" y="941"/>
                  <a:pt x="1781" y="1052"/>
                </a:cubicBezTo>
                <a:cubicBezTo>
                  <a:pt x="1696" y="1117"/>
                  <a:pt x="1590" y="1156"/>
                  <a:pt x="1474" y="1156"/>
                </a:cubicBezTo>
                <a:cubicBezTo>
                  <a:pt x="1359" y="1156"/>
                  <a:pt x="1252" y="1117"/>
                  <a:pt x="1167" y="1052"/>
                </a:cubicBezTo>
                <a:close/>
                <a:moveTo>
                  <a:pt x="148" y="651"/>
                </a:moveTo>
                <a:lnTo>
                  <a:pt x="148" y="651"/>
                </a:lnTo>
                <a:cubicBezTo>
                  <a:pt x="148" y="373"/>
                  <a:pt x="374" y="147"/>
                  <a:pt x="653" y="147"/>
                </a:cubicBezTo>
                <a:cubicBezTo>
                  <a:pt x="768" y="147"/>
                  <a:pt x="875" y="186"/>
                  <a:pt x="960" y="251"/>
                </a:cubicBezTo>
                <a:cubicBezTo>
                  <a:pt x="874" y="361"/>
                  <a:pt x="822" y="500"/>
                  <a:pt x="822" y="651"/>
                </a:cubicBezTo>
                <a:cubicBezTo>
                  <a:pt x="822" y="802"/>
                  <a:pt x="874" y="941"/>
                  <a:pt x="960" y="1052"/>
                </a:cubicBezTo>
                <a:cubicBezTo>
                  <a:pt x="875" y="1117"/>
                  <a:pt x="768" y="1156"/>
                  <a:pt x="653" y="1156"/>
                </a:cubicBezTo>
                <a:cubicBezTo>
                  <a:pt x="374" y="1156"/>
                  <a:pt x="148" y="930"/>
                  <a:pt x="148" y="651"/>
                </a:cubicBezTo>
                <a:close/>
                <a:moveTo>
                  <a:pt x="1063" y="944"/>
                </a:moveTo>
                <a:lnTo>
                  <a:pt x="1063" y="944"/>
                </a:lnTo>
                <a:cubicBezTo>
                  <a:pt x="1004" y="862"/>
                  <a:pt x="969" y="761"/>
                  <a:pt x="969" y="651"/>
                </a:cubicBezTo>
                <a:cubicBezTo>
                  <a:pt x="969" y="542"/>
                  <a:pt x="1004" y="441"/>
                  <a:pt x="1063" y="358"/>
                </a:cubicBezTo>
                <a:cubicBezTo>
                  <a:pt x="1122" y="441"/>
                  <a:pt x="1157" y="542"/>
                  <a:pt x="1157" y="651"/>
                </a:cubicBezTo>
                <a:cubicBezTo>
                  <a:pt x="1157" y="761"/>
                  <a:pt x="1122" y="862"/>
                  <a:pt x="1063" y="944"/>
                </a:cubicBezTo>
                <a:close/>
                <a:moveTo>
                  <a:pt x="1885" y="944"/>
                </a:moveTo>
                <a:lnTo>
                  <a:pt x="1885" y="944"/>
                </a:lnTo>
                <a:cubicBezTo>
                  <a:pt x="1826" y="862"/>
                  <a:pt x="1791" y="761"/>
                  <a:pt x="1791" y="651"/>
                </a:cubicBezTo>
                <a:cubicBezTo>
                  <a:pt x="1791" y="542"/>
                  <a:pt x="1826" y="441"/>
                  <a:pt x="1885" y="358"/>
                </a:cubicBezTo>
                <a:cubicBezTo>
                  <a:pt x="1944" y="441"/>
                  <a:pt x="1979" y="542"/>
                  <a:pt x="1979" y="651"/>
                </a:cubicBezTo>
                <a:cubicBezTo>
                  <a:pt x="1979" y="761"/>
                  <a:pt x="1944" y="862"/>
                  <a:pt x="1885" y="944"/>
                </a:cubicBezTo>
                <a:close/>
                <a:moveTo>
                  <a:pt x="2707" y="944"/>
                </a:moveTo>
                <a:lnTo>
                  <a:pt x="2707" y="944"/>
                </a:lnTo>
                <a:cubicBezTo>
                  <a:pt x="2648" y="862"/>
                  <a:pt x="2613" y="761"/>
                  <a:pt x="2613" y="651"/>
                </a:cubicBezTo>
                <a:cubicBezTo>
                  <a:pt x="2613" y="542"/>
                  <a:pt x="2648" y="441"/>
                  <a:pt x="2707" y="358"/>
                </a:cubicBezTo>
                <a:cubicBezTo>
                  <a:pt x="2766" y="441"/>
                  <a:pt x="2800" y="542"/>
                  <a:pt x="2800" y="651"/>
                </a:cubicBezTo>
                <a:cubicBezTo>
                  <a:pt x="2800" y="761"/>
                  <a:pt x="2766" y="862"/>
                  <a:pt x="2707" y="944"/>
                </a:cubicBezTo>
                <a:close/>
                <a:moveTo>
                  <a:pt x="3117" y="0"/>
                </a:moveTo>
                <a:lnTo>
                  <a:pt x="3117" y="0"/>
                </a:lnTo>
                <a:cubicBezTo>
                  <a:pt x="2962" y="0"/>
                  <a:pt x="2819" y="54"/>
                  <a:pt x="2707" y="145"/>
                </a:cubicBezTo>
                <a:cubicBezTo>
                  <a:pt x="2594" y="54"/>
                  <a:pt x="2452" y="0"/>
                  <a:pt x="2296" y="0"/>
                </a:cubicBezTo>
                <a:cubicBezTo>
                  <a:pt x="2140" y="0"/>
                  <a:pt x="1997" y="54"/>
                  <a:pt x="1885" y="145"/>
                </a:cubicBezTo>
                <a:cubicBezTo>
                  <a:pt x="1773" y="54"/>
                  <a:pt x="1630" y="0"/>
                  <a:pt x="1474" y="0"/>
                </a:cubicBezTo>
                <a:cubicBezTo>
                  <a:pt x="1318" y="0"/>
                  <a:pt x="1175" y="54"/>
                  <a:pt x="1063" y="145"/>
                </a:cubicBezTo>
                <a:cubicBezTo>
                  <a:pt x="951" y="54"/>
                  <a:pt x="808" y="0"/>
                  <a:pt x="653" y="0"/>
                </a:cubicBezTo>
                <a:cubicBezTo>
                  <a:pt x="292" y="0"/>
                  <a:pt x="0" y="291"/>
                  <a:pt x="0" y="651"/>
                </a:cubicBezTo>
                <a:cubicBezTo>
                  <a:pt x="0" y="1011"/>
                  <a:pt x="292" y="1303"/>
                  <a:pt x="653" y="1303"/>
                </a:cubicBezTo>
                <a:cubicBezTo>
                  <a:pt x="808" y="1303"/>
                  <a:pt x="951" y="1249"/>
                  <a:pt x="1063" y="1158"/>
                </a:cubicBezTo>
                <a:cubicBezTo>
                  <a:pt x="1175" y="1249"/>
                  <a:pt x="1318" y="1303"/>
                  <a:pt x="1474" y="1303"/>
                </a:cubicBezTo>
                <a:cubicBezTo>
                  <a:pt x="1630" y="1303"/>
                  <a:pt x="1773" y="1249"/>
                  <a:pt x="1885" y="1158"/>
                </a:cubicBezTo>
                <a:cubicBezTo>
                  <a:pt x="1997" y="1249"/>
                  <a:pt x="2140" y="1303"/>
                  <a:pt x="2296" y="1303"/>
                </a:cubicBezTo>
                <a:cubicBezTo>
                  <a:pt x="2452" y="1303"/>
                  <a:pt x="2594" y="1249"/>
                  <a:pt x="2707" y="1158"/>
                </a:cubicBezTo>
                <a:cubicBezTo>
                  <a:pt x="2819" y="1249"/>
                  <a:pt x="2962" y="1303"/>
                  <a:pt x="3117" y="1303"/>
                </a:cubicBezTo>
                <a:cubicBezTo>
                  <a:pt x="3478" y="1303"/>
                  <a:pt x="3769" y="1011"/>
                  <a:pt x="3769" y="651"/>
                </a:cubicBezTo>
                <a:cubicBezTo>
                  <a:pt x="3769" y="291"/>
                  <a:pt x="3478" y="0"/>
                  <a:pt x="311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609997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 (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8DC87B04-C334-4047-982A-C5A8785783C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609011 w 6096000"/>
              <a:gd name="connsiteY0" fmla="*/ 4044239 h 6858000"/>
              <a:gd name="connsiteX1" fmla="*/ 1583858 w 6096000"/>
              <a:gd name="connsiteY1" fmla="*/ 5019086 h 6858000"/>
              <a:gd name="connsiteX2" fmla="*/ 609011 w 6096000"/>
              <a:gd name="connsiteY2" fmla="*/ 5993933 h 6858000"/>
              <a:gd name="connsiteX3" fmla="*/ 63965 w 6096000"/>
              <a:gd name="connsiteY3" fmla="*/ 5827445 h 6858000"/>
              <a:gd name="connsiteX4" fmla="*/ 20969 w 6096000"/>
              <a:gd name="connsiteY4" fmla="*/ 5791970 h 6858000"/>
              <a:gd name="connsiteX5" fmla="*/ 67695 w 6096000"/>
              <a:gd name="connsiteY5" fmla="*/ 5729485 h 6858000"/>
              <a:gd name="connsiteX6" fmla="*/ 284691 w 6096000"/>
              <a:gd name="connsiteY6" fmla="*/ 5019086 h 6858000"/>
              <a:gd name="connsiteX7" fmla="*/ 67695 w 6096000"/>
              <a:gd name="connsiteY7" fmla="*/ 4308688 h 6858000"/>
              <a:gd name="connsiteX8" fmla="*/ 20969 w 6096000"/>
              <a:gd name="connsiteY8" fmla="*/ 4246203 h 6858000"/>
              <a:gd name="connsiteX9" fmla="*/ 63965 w 6096000"/>
              <a:gd name="connsiteY9" fmla="*/ 4210728 h 6858000"/>
              <a:gd name="connsiteX10" fmla="*/ 609011 w 6096000"/>
              <a:gd name="connsiteY10" fmla="*/ 4044239 h 6858000"/>
              <a:gd name="connsiteX11" fmla="*/ 0 w 6096000"/>
              <a:gd name="connsiteY11" fmla="*/ 0 h 6858000"/>
              <a:gd name="connsiteX12" fmla="*/ 6096000 w 6096000"/>
              <a:gd name="connsiteY12" fmla="*/ 0 h 6858000"/>
              <a:gd name="connsiteX13" fmla="*/ 6096000 w 6096000"/>
              <a:gd name="connsiteY13" fmla="*/ 6858000 h 6858000"/>
              <a:gd name="connsiteX14" fmla="*/ 0 w 6096000"/>
              <a:gd name="connsiteY14" fmla="*/ 6858000 h 6858000"/>
              <a:gd name="connsiteX15" fmla="*/ 0 w 6096000"/>
              <a:gd name="connsiteY15" fmla="*/ 6130954 h 6858000"/>
              <a:gd name="connsiteX16" fmla="*/ 58159 w 6096000"/>
              <a:gd name="connsiteY16" fmla="*/ 6164382 h 6858000"/>
              <a:gd name="connsiteX17" fmla="*/ 609011 w 6096000"/>
              <a:gd name="connsiteY17" fmla="*/ 6289675 h 6858000"/>
              <a:gd name="connsiteX18" fmla="*/ 1879600 w 6096000"/>
              <a:gd name="connsiteY18" fmla="*/ 5019086 h 6858000"/>
              <a:gd name="connsiteX19" fmla="*/ 609011 w 6096000"/>
              <a:gd name="connsiteY19" fmla="*/ 3748497 h 6858000"/>
              <a:gd name="connsiteX20" fmla="*/ 58159 w 6096000"/>
              <a:gd name="connsiteY20" fmla="*/ 3873791 h 6858000"/>
              <a:gd name="connsiteX21" fmla="*/ 0 w 6096000"/>
              <a:gd name="connsiteY21" fmla="*/ 39072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0" h="6858000">
                <a:moveTo>
                  <a:pt x="609011" y="4044239"/>
                </a:moveTo>
                <a:cubicBezTo>
                  <a:pt x="1147404" y="4044239"/>
                  <a:pt x="1583858" y="4480693"/>
                  <a:pt x="1583858" y="5019086"/>
                </a:cubicBezTo>
                <a:cubicBezTo>
                  <a:pt x="1583858" y="5557479"/>
                  <a:pt x="1147404" y="5993933"/>
                  <a:pt x="609011" y="5993933"/>
                </a:cubicBezTo>
                <a:cubicBezTo>
                  <a:pt x="407114" y="5993933"/>
                  <a:pt x="219552" y="5932557"/>
                  <a:pt x="63965" y="5827445"/>
                </a:cubicBezTo>
                <a:lnTo>
                  <a:pt x="20969" y="5791970"/>
                </a:lnTo>
                <a:lnTo>
                  <a:pt x="67695" y="5729485"/>
                </a:lnTo>
                <a:cubicBezTo>
                  <a:pt x="204695" y="5526697"/>
                  <a:pt x="284691" y="5282234"/>
                  <a:pt x="284691" y="5019086"/>
                </a:cubicBezTo>
                <a:cubicBezTo>
                  <a:pt x="284691" y="4755939"/>
                  <a:pt x="204695" y="4511475"/>
                  <a:pt x="67695" y="4308688"/>
                </a:cubicBezTo>
                <a:lnTo>
                  <a:pt x="20969" y="4246203"/>
                </a:lnTo>
                <a:lnTo>
                  <a:pt x="63965" y="4210728"/>
                </a:lnTo>
                <a:cubicBezTo>
                  <a:pt x="219552" y="4105616"/>
                  <a:pt x="407114" y="4044239"/>
                  <a:pt x="609011" y="4044239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lnTo>
                  <a:pt x="0" y="6130954"/>
                </a:lnTo>
                <a:lnTo>
                  <a:pt x="58159" y="6164382"/>
                </a:lnTo>
                <a:cubicBezTo>
                  <a:pt x="224800" y="6244678"/>
                  <a:pt x="411651" y="6289675"/>
                  <a:pt x="609011" y="6289675"/>
                </a:cubicBezTo>
                <a:cubicBezTo>
                  <a:pt x="1310738" y="6289675"/>
                  <a:pt x="1879600" y="5720813"/>
                  <a:pt x="1879600" y="5019086"/>
                </a:cubicBezTo>
                <a:cubicBezTo>
                  <a:pt x="1879600" y="4317359"/>
                  <a:pt x="1310738" y="3748497"/>
                  <a:pt x="609011" y="3748497"/>
                </a:cubicBezTo>
                <a:cubicBezTo>
                  <a:pt x="411651" y="3748497"/>
                  <a:pt x="224800" y="3793495"/>
                  <a:pt x="58159" y="3873791"/>
                </a:cubicBezTo>
                <a:lnTo>
                  <a:pt x="0" y="3907219"/>
                </a:ln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wrap="square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412717"/>
            <a:ext cx="5221288" cy="2410916"/>
          </a:xfrm>
        </p:spPr>
        <p:txBody>
          <a:bodyPr wrap="square" anchor="b">
            <a:spAutoFit/>
          </a:bodyPr>
          <a:lstStyle>
            <a:lvl1pPr marL="0" indent="0" algn="l">
              <a:lnSpc>
                <a:spcPts val="4740"/>
              </a:lnSpc>
              <a:spcBef>
                <a:spcPts val="0"/>
              </a:spcBef>
              <a:buNone/>
              <a:defRPr sz="42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Titel der Präsentation</a:t>
            </a:r>
            <a:br>
              <a:rPr lang="de-DE" noProof="0"/>
            </a:br>
            <a:r>
              <a:rPr lang="de-DE" noProof="0"/>
              <a:t>in maximal</a:t>
            </a:r>
            <a:br>
              <a:rPr lang="de-DE" noProof="0"/>
            </a:br>
            <a:r>
              <a:rPr lang="de-DE" noProof="0"/>
              <a:t>vier Zei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AE595C-2F39-2845-AC37-5AB35A4FA6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3" y="2984937"/>
            <a:ext cx="5221289" cy="251413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Ort | Datum</a:t>
            </a: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B613EDF0-028B-5F4A-878C-09AE852FC3B2}"/>
              </a:ext>
            </a:extLst>
          </p:cNvPr>
          <p:cNvSpPr/>
          <p:nvPr userDrawn="1"/>
        </p:nvSpPr>
        <p:spPr>
          <a:xfrm>
            <a:off x="649697" y="3748497"/>
            <a:ext cx="7325903" cy="2541178"/>
          </a:xfrm>
          <a:custGeom>
            <a:avLst/>
            <a:gdLst>
              <a:gd name="connsiteX0" fmla="*/ 5257860 w 7325903"/>
              <a:gd name="connsiteY0" fmla="*/ 712327 h 2541178"/>
              <a:gd name="connsiteX1" fmla="*/ 5246956 w 7325903"/>
              <a:gd name="connsiteY1" fmla="*/ 725543 h 2541178"/>
              <a:gd name="connsiteX2" fmla="*/ 5080467 w 7325903"/>
              <a:gd name="connsiteY2" fmla="*/ 1270589 h 2541178"/>
              <a:gd name="connsiteX3" fmla="*/ 5246956 w 7325903"/>
              <a:gd name="connsiteY3" fmla="*/ 1815635 h 2541178"/>
              <a:gd name="connsiteX4" fmla="*/ 5257860 w 7325903"/>
              <a:gd name="connsiteY4" fmla="*/ 1828851 h 2541178"/>
              <a:gd name="connsiteX5" fmla="*/ 5268764 w 7325903"/>
              <a:gd name="connsiteY5" fmla="*/ 1815635 h 2541178"/>
              <a:gd name="connsiteX6" fmla="*/ 5435252 w 7325903"/>
              <a:gd name="connsiteY6" fmla="*/ 1270589 h 2541178"/>
              <a:gd name="connsiteX7" fmla="*/ 5268764 w 7325903"/>
              <a:gd name="connsiteY7" fmla="*/ 725543 h 2541178"/>
              <a:gd name="connsiteX8" fmla="*/ 3662951 w 7325903"/>
              <a:gd name="connsiteY8" fmla="*/ 712327 h 2541178"/>
              <a:gd name="connsiteX9" fmla="*/ 3652047 w 7325903"/>
              <a:gd name="connsiteY9" fmla="*/ 725543 h 2541178"/>
              <a:gd name="connsiteX10" fmla="*/ 3485558 w 7325903"/>
              <a:gd name="connsiteY10" fmla="*/ 1270589 h 2541178"/>
              <a:gd name="connsiteX11" fmla="*/ 3652047 w 7325903"/>
              <a:gd name="connsiteY11" fmla="*/ 1815635 h 2541178"/>
              <a:gd name="connsiteX12" fmla="*/ 3662951 w 7325903"/>
              <a:gd name="connsiteY12" fmla="*/ 1828852 h 2541178"/>
              <a:gd name="connsiteX13" fmla="*/ 3673856 w 7325903"/>
              <a:gd name="connsiteY13" fmla="*/ 1815635 h 2541178"/>
              <a:gd name="connsiteX14" fmla="*/ 3840344 w 7325903"/>
              <a:gd name="connsiteY14" fmla="*/ 1270589 h 2541178"/>
              <a:gd name="connsiteX15" fmla="*/ 3673856 w 7325903"/>
              <a:gd name="connsiteY15" fmla="*/ 725543 h 2541178"/>
              <a:gd name="connsiteX16" fmla="*/ 2068043 w 7325903"/>
              <a:gd name="connsiteY16" fmla="*/ 712327 h 2541178"/>
              <a:gd name="connsiteX17" fmla="*/ 2057139 w 7325903"/>
              <a:gd name="connsiteY17" fmla="*/ 725543 h 2541178"/>
              <a:gd name="connsiteX18" fmla="*/ 1890650 w 7325903"/>
              <a:gd name="connsiteY18" fmla="*/ 1270589 h 2541178"/>
              <a:gd name="connsiteX19" fmla="*/ 2057139 w 7325903"/>
              <a:gd name="connsiteY19" fmla="*/ 1815635 h 2541178"/>
              <a:gd name="connsiteX20" fmla="*/ 2068043 w 7325903"/>
              <a:gd name="connsiteY20" fmla="*/ 1828852 h 2541178"/>
              <a:gd name="connsiteX21" fmla="*/ 2078948 w 7325903"/>
              <a:gd name="connsiteY21" fmla="*/ 1815635 h 2541178"/>
              <a:gd name="connsiteX22" fmla="*/ 2245436 w 7325903"/>
              <a:gd name="connsiteY22" fmla="*/ 1270589 h 2541178"/>
              <a:gd name="connsiteX23" fmla="*/ 2078948 w 7325903"/>
              <a:gd name="connsiteY23" fmla="*/ 725543 h 2541178"/>
              <a:gd name="connsiteX24" fmla="*/ 6055314 w 7325903"/>
              <a:gd name="connsiteY24" fmla="*/ 295742 h 2541178"/>
              <a:gd name="connsiteX25" fmla="*/ 5510268 w 7325903"/>
              <a:gd name="connsiteY25" fmla="*/ 462231 h 2541178"/>
              <a:gd name="connsiteX26" fmla="*/ 5467272 w 7325903"/>
              <a:gd name="connsiteY26" fmla="*/ 497706 h 2541178"/>
              <a:gd name="connsiteX27" fmla="*/ 5513998 w 7325903"/>
              <a:gd name="connsiteY27" fmla="*/ 560191 h 2541178"/>
              <a:gd name="connsiteX28" fmla="*/ 5730994 w 7325903"/>
              <a:gd name="connsiteY28" fmla="*/ 1270589 h 2541178"/>
              <a:gd name="connsiteX29" fmla="*/ 5513998 w 7325903"/>
              <a:gd name="connsiteY29" fmla="*/ 1980988 h 2541178"/>
              <a:gd name="connsiteX30" fmla="*/ 5467272 w 7325903"/>
              <a:gd name="connsiteY30" fmla="*/ 2043473 h 2541178"/>
              <a:gd name="connsiteX31" fmla="*/ 5510268 w 7325903"/>
              <a:gd name="connsiteY31" fmla="*/ 2078948 h 2541178"/>
              <a:gd name="connsiteX32" fmla="*/ 6055314 w 7325903"/>
              <a:gd name="connsiteY32" fmla="*/ 2245436 h 2541178"/>
              <a:gd name="connsiteX33" fmla="*/ 7030161 w 7325903"/>
              <a:gd name="connsiteY33" fmla="*/ 1270589 h 2541178"/>
              <a:gd name="connsiteX34" fmla="*/ 6055314 w 7325903"/>
              <a:gd name="connsiteY34" fmla="*/ 295742 h 2541178"/>
              <a:gd name="connsiteX35" fmla="*/ 4460405 w 7325903"/>
              <a:gd name="connsiteY35" fmla="*/ 295742 h 2541178"/>
              <a:gd name="connsiteX36" fmla="*/ 3915359 w 7325903"/>
              <a:gd name="connsiteY36" fmla="*/ 462231 h 2541178"/>
              <a:gd name="connsiteX37" fmla="*/ 3872364 w 7325903"/>
              <a:gd name="connsiteY37" fmla="*/ 497705 h 2541178"/>
              <a:gd name="connsiteX38" fmla="*/ 3919090 w 7325903"/>
              <a:gd name="connsiteY38" fmla="*/ 560191 h 2541178"/>
              <a:gd name="connsiteX39" fmla="*/ 4136086 w 7325903"/>
              <a:gd name="connsiteY39" fmla="*/ 1270589 h 2541178"/>
              <a:gd name="connsiteX40" fmla="*/ 3919090 w 7325903"/>
              <a:gd name="connsiteY40" fmla="*/ 1980988 h 2541178"/>
              <a:gd name="connsiteX41" fmla="*/ 3872364 w 7325903"/>
              <a:gd name="connsiteY41" fmla="*/ 2043473 h 2541178"/>
              <a:gd name="connsiteX42" fmla="*/ 3915359 w 7325903"/>
              <a:gd name="connsiteY42" fmla="*/ 2078948 h 2541178"/>
              <a:gd name="connsiteX43" fmla="*/ 4460405 w 7325903"/>
              <a:gd name="connsiteY43" fmla="*/ 2245436 h 2541178"/>
              <a:gd name="connsiteX44" fmla="*/ 5005451 w 7325903"/>
              <a:gd name="connsiteY44" fmla="*/ 2078948 h 2541178"/>
              <a:gd name="connsiteX45" fmla="*/ 5048447 w 7325903"/>
              <a:gd name="connsiteY45" fmla="*/ 2043473 h 2541178"/>
              <a:gd name="connsiteX46" fmla="*/ 5001722 w 7325903"/>
              <a:gd name="connsiteY46" fmla="*/ 1980988 h 2541178"/>
              <a:gd name="connsiteX47" fmla="*/ 4784725 w 7325903"/>
              <a:gd name="connsiteY47" fmla="*/ 1270589 h 2541178"/>
              <a:gd name="connsiteX48" fmla="*/ 5001722 w 7325903"/>
              <a:gd name="connsiteY48" fmla="*/ 560191 h 2541178"/>
              <a:gd name="connsiteX49" fmla="*/ 5048447 w 7325903"/>
              <a:gd name="connsiteY49" fmla="*/ 497706 h 2541178"/>
              <a:gd name="connsiteX50" fmla="*/ 5005451 w 7325903"/>
              <a:gd name="connsiteY50" fmla="*/ 462231 h 2541178"/>
              <a:gd name="connsiteX51" fmla="*/ 4460405 w 7325903"/>
              <a:gd name="connsiteY51" fmla="*/ 295742 h 2541178"/>
              <a:gd name="connsiteX52" fmla="*/ 2865497 w 7325903"/>
              <a:gd name="connsiteY52" fmla="*/ 295742 h 2541178"/>
              <a:gd name="connsiteX53" fmla="*/ 2320451 w 7325903"/>
              <a:gd name="connsiteY53" fmla="*/ 462231 h 2541178"/>
              <a:gd name="connsiteX54" fmla="*/ 2277456 w 7325903"/>
              <a:gd name="connsiteY54" fmla="*/ 497705 h 2541178"/>
              <a:gd name="connsiteX55" fmla="*/ 2324182 w 7325903"/>
              <a:gd name="connsiteY55" fmla="*/ 560191 h 2541178"/>
              <a:gd name="connsiteX56" fmla="*/ 2541178 w 7325903"/>
              <a:gd name="connsiteY56" fmla="*/ 1270589 h 2541178"/>
              <a:gd name="connsiteX57" fmla="*/ 2324182 w 7325903"/>
              <a:gd name="connsiteY57" fmla="*/ 1980988 h 2541178"/>
              <a:gd name="connsiteX58" fmla="*/ 2277456 w 7325903"/>
              <a:gd name="connsiteY58" fmla="*/ 2043473 h 2541178"/>
              <a:gd name="connsiteX59" fmla="*/ 2320451 w 7325903"/>
              <a:gd name="connsiteY59" fmla="*/ 2078948 h 2541178"/>
              <a:gd name="connsiteX60" fmla="*/ 2865497 w 7325903"/>
              <a:gd name="connsiteY60" fmla="*/ 2245436 h 2541178"/>
              <a:gd name="connsiteX61" fmla="*/ 3410544 w 7325903"/>
              <a:gd name="connsiteY61" fmla="*/ 2078948 h 2541178"/>
              <a:gd name="connsiteX62" fmla="*/ 3453539 w 7325903"/>
              <a:gd name="connsiteY62" fmla="*/ 2043473 h 2541178"/>
              <a:gd name="connsiteX63" fmla="*/ 3406813 w 7325903"/>
              <a:gd name="connsiteY63" fmla="*/ 1980988 h 2541178"/>
              <a:gd name="connsiteX64" fmla="*/ 3189816 w 7325903"/>
              <a:gd name="connsiteY64" fmla="*/ 1270589 h 2541178"/>
              <a:gd name="connsiteX65" fmla="*/ 3406813 w 7325903"/>
              <a:gd name="connsiteY65" fmla="*/ 560191 h 2541178"/>
              <a:gd name="connsiteX66" fmla="*/ 3453539 w 7325903"/>
              <a:gd name="connsiteY66" fmla="*/ 497705 h 2541178"/>
              <a:gd name="connsiteX67" fmla="*/ 3410544 w 7325903"/>
              <a:gd name="connsiteY67" fmla="*/ 462231 h 2541178"/>
              <a:gd name="connsiteX68" fmla="*/ 2865497 w 7325903"/>
              <a:gd name="connsiteY68" fmla="*/ 295742 h 2541178"/>
              <a:gd name="connsiteX69" fmla="*/ 1270589 w 7325903"/>
              <a:gd name="connsiteY69" fmla="*/ 295742 h 2541178"/>
              <a:gd name="connsiteX70" fmla="*/ 295742 w 7325903"/>
              <a:gd name="connsiteY70" fmla="*/ 1270589 h 2541178"/>
              <a:gd name="connsiteX71" fmla="*/ 1270589 w 7325903"/>
              <a:gd name="connsiteY71" fmla="*/ 2245436 h 2541178"/>
              <a:gd name="connsiteX72" fmla="*/ 1815635 w 7325903"/>
              <a:gd name="connsiteY72" fmla="*/ 2078948 h 2541178"/>
              <a:gd name="connsiteX73" fmla="*/ 1858631 w 7325903"/>
              <a:gd name="connsiteY73" fmla="*/ 2043473 h 2541178"/>
              <a:gd name="connsiteX74" fmla="*/ 1811905 w 7325903"/>
              <a:gd name="connsiteY74" fmla="*/ 1980988 h 2541178"/>
              <a:gd name="connsiteX75" fmla="*/ 1594908 w 7325903"/>
              <a:gd name="connsiteY75" fmla="*/ 1270589 h 2541178"/>
              <a:gd name="connsiteX76" fmla="*/ 1811905 w 7325903"/>
              <a:gd name="connsiteY76" fmla="*/ 560191 h 2541178"/>
              <a:gd name="connsiteX77" fmla="*/ 1858631 w 7325903"/>
              <a:gd name="connsiteY77" fmla="*/ 497705 h 2541178"/>
              <a:gd name="connsiteX78" fmla="*/ 1815635 w 7325903"/>
              <a:gd name="connsiteY78" fmla="*/ 462231 h 2541178"/>
              <a:gd name="connsiteX79" fmla="*/ 1270589 w 7325903"/>
              <a:gd name="connsiteY79" fmla="*/ 295742 h 2541178"/>
              <a:gd name="connsiteX80" fmla="*/ 1270589 w 7325903"/>
              <a:gd name="connsiteY80" fmla="*/ 0 h 2541178"/>
              <a:gd name="connsiteX81" fmla="*/ 1980988 w 7325903"/>
              <a:gd name="connsiteY81" fmla="*/ 216997 h 2541178"/>
              <a:gd name="connsiteX82" fmla="*/ 2068043 w 7325903"/>
              <a:gd name="connsiteY82" fmla="*/ 282096 h 2541178"/>
              <a:gd name="connsiteX83" fmla="*/ 2155099 w 7325903"/>
              <a:gd name="connsiteY83" fmla="*/ 216997 h 2541178"/>
              <a:gd name="connsiteX84" fmla="*/ 2865497 w 7325903"/>
              <a:gd name="connsiteY84" fmla="*/ 0 h 2541178"/>
              <a:gd name="connsiteX85" fmla="*/ 3575896 w 7325903"/>
              <a:gd name="connsiteY85" fmla="*/ 216997 h 2541178"/>
              <a:gd name="connsiteX86" fmla="*/ 3662951 w 7325903"/>
              <a:gd name="connsiteY86" fmla="*/ 282096 h 2541178"/>
              <a:gd name="connsiteX87" fmla="*/ 3750007 w 7325903"/>
              <a:gd name="connsiteY87" fmla="*/ 216997 h 2541178"/>
              <a:gd name="connsiteX88" fmla="*/ 4460405 w 7325903"/>
              <a:gd name="connsiteY88" fmla="*/ 0 h 2541178"/>
              <a:gd name="connsiteX89" fmla="*/ 5170804 w 7325903"/>
              <a:gd name="connsiteY89" fmla="*/ 216997 h 2541178"/>
              <a:gd name="connsiteX90" fmla="*/ 5257860 w 7325903"/>
              <a:gd name="connsiteY90" fmla="*/ 282096 h 2541178"/>
              <a:gd name="connsiteX91" fmla="*/ 5344916 w 7325903"/>
              <a:gd name="connsiteY91" fmla="*/ 216997 h 2541178"/>
              <a:gd name="connsiteX92" fmla="*/ 6055314 w 7325903"/>
              <a:gd name="connsiteY92" fmla="*/ 0 h 2541178"/>
              <a:gd name="connsiteX93" fmla="*/ 7325903 w 7325903"/>
              <a:gd name="connsiteY93" fmla="*/ 1270589 h 2541178"/>
              <a:gd name="connsiteX94" fmla="*/ 6055314 w 7325903"/>
              <a:gd name="connsiteY94" fmla="*/ 2541178 h 2541178"/>
              <a:gd name="connsiteX95" fmla="*/ 5344916 w 7325903"/>
              <a:gd name="connsiteY95" fmla="*/ 2324182 h 2541178"/>
              <a:gd name="connsiteX96" fmla="*/ 5257860 w 7325903"/>
              <a:gd name="connsiteY96" fmla="*/ 2259082 h 2541178"/>
              <a:gd name="connsiteX97" fmla="*/ 5170804 w 7325903"/>
              <a:gd name="connsiteY97" fmla="*/ 2324182 h 2541178"/>
              <a:gd name="connsiteX98" fmla="*/ 4460405 w 7325903"/>
              <a:gd name="connsiteY98" fmla="*/ 2541178 h 2541178"/>
              <a:gd name="connsiteX99" fmla="*/ 3750007 w 7325903"/>
              <a:gd name="connsiteY99" fmla="*/ 2324182 h 2541178"/>
              <a:gd name="connsiteX100" fmla="*/ 3662951 w 7325903"/>
              <a:gd name="connsiteY100" fmla="*/ 2259083 h 2541178"/>
              <a:gd name="connsiteX101" fmla="*/ 3575896 w 7325903"/>
              <a:gd name="connsiteY101" fmla="*/ 2324182 h 2541178"/>
              <a:gd name="connsiteX102" fmla="*/ 2865497 w 7325903"/>
              <a:gd name="connsiteY102" fmla="*/ 2541178 h 2541178"/>
              <a:gd name="connsiteX103" fmla="*/ 2155099 w 7325903"/>
              <a:gd name="connsiteY103" fmla="*/ 2324182 h 2541178"/>
              <a:gd name="connsiteX104" fmla="*/ 2068043 w 7325903"/>
              <a:gd name="connsiteY104" fmla="*/ 2259083 h 2541178"/>
              <a:gd name="connsiteX105" fmla="*/ 1980988 w 7325903"/>
              <a:gd name="connsiteY105" fmla="*/ 2324182 h 2541178"/>
              <a:gd name="connsiteX106" fmla="*/ 1270589 w 7325903"/>
              <a:gd name="connsiteY106" fmla="*/ 2541178 h 2541178"/>
              <a:gd name="connsiteX107" fmla="*/ 0 w 7325903"/>
              <a:gd name="connsiteY107" fmla="*/ 1270589 h 2541178"/>
              <a:gd name="connsiteX108" fmla="*/ 1270589 w 7325903"/>
              <a:gd name="connsiteY108" fmla="*/ 0 h 2541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</a:cxnLst>
            <a:rect l="l" t="t" r="r" b="b"/>
            <a:pathLst>
              <a:path w="7325903" h="2541178">
                <a:moveTo>
                  <a:pt x="5257860" y="712327"/>
                </a:moveTo>
                <a:lnTo>
                  <a:pt x="5246956" y="725543"/>
                </a:lnTo>
                <a:cubicBezTo>
                  <a:pt x="5141844" y="881130"/>
                  <a:pt x="5080467" y="1068692"/>
                  <a:pt x="5080467" y="1270589"/>
                </a:cubicBezTo>
                <a:cubicBezTo>
                  <a:pt x="5080467" y="1472487"/>
                  <a:pt x="5141844" y="1660049"/>
                  <a:pt x="5246956" y="1815635"/>
                </a:cubicBezTo>
                <a:lnTo>
                  <a:pt x="5257860" y="1828851"/>
                </a:lnTo>
                <a:lnTo>
                  <a:pt x="5268764" y="1815635"/>
                </a:lnTo>
                <a:cubicBezTo>
                  <a:pt x="5373876" y="1660049"/>
                  <a:pt x="5435252" y="1472487"/>
                  <a:pt x="5435252" y="1270589"/>
                </a:cubicBezTo>
                <a:cubicBezTo>
                  <a:pt x="5435252" y="1068692"/>
                  <a:pt x="5373876" y="881130"/>
                  <a:pt x="5268764" y="725543"/>
                </a:cubicBezTo>
                <a:close/>
                <a:moveTo>
                  <a:pt x="3662951" y="712327"/>
                </a:moveTo>
                <a:lnTo>
                  <a:pt x="3652047" y="725543"/>
                </a:lnTo>
                <a:cubicBezTo>
                  <a:pt x="3546935" y="881130"/>
                  <a:pt x="3485558" y="1068692"/>
                  <a:pt x="3485558" y="1270589"/>
                </a:cubicBezTo>
                <a:cubicBezTo>
                  <a:pt x="3485558" y="1472487"/>
                  <a:pt x="3546935" y="1660049"/>
                  <a:pt x="3652047" y="1815635"/>
                </a:cubicBezTo>
                <a:lnTo>
                  <a:pt x="3662951" y="1828852"/>
                </a:lnTo>
                <a:lnTo>
                  <a:pt x="3673856" y="1815635"/>
                </a:lnTo>
                <a:cubicBezTo>
                  <a:pt x="3778968" y="1660049"/>
                  <a:pt x="3840344" y="1472487"/>
                  <a:pt x="3840344" y="1270589"/>
                </a:cubicBezTo>
                <a:cubicBezTo>
                  <a:pt x="3840344" y="1068692"/>
                  <a:pt x="3778968" y="881130"/>
                  <a:pt x="3673856" y="725543"/>
                </a:cubicBezTo>
                <a:close/>
                <a:moveTo>
                  <a:pt x="2068043" y="712327"/>
                </a:moveTo>
                <a:lnTo>
                  <a:pt x="2057139" y="725543"/>
                </a:lnTo>
                <a:cubicBezTo>
                  <a:pt x="1952027" y="881130"/>
                  <a:pt x="1890650" y="1068692"/>
                  <a:pt x="1890650" y="1270589"/>
                </a:cubicBezTo>
                <a:cubicBezTo>
                  <a:pt x="1890650" y="1472487"/>
                  <a:pt x="1952027" y="1660049"/>
                  <a:pt x="2057139" y="1815635"/>
                </a:cubicBezTo>
                <a:lnTo>
                  <a:pt x="2068043" y="1828852"/>
                </a:lnTo>
                <a:lnTo>
                  <a:pt x="2078948" y="1815635"/>
                </a:lnTo>
                <a:cubicBezTo>
                  <a:pt x="2184060" y="1660049"/>
                  <a:pt x="2245436" y="1472487"/>
                  <a:pt x="2245436" y="1270589"/>
                </a:cubicBezTo>
                <a:cubicBezTo>
                  <a:pt x="2245436" y="1068692"/>
                  <a:pt x="2184060" y="881130"/>
                  <a:pt x="2078948" y="725543"/>
                </a:cubicBezTo>
                <a:close/>
                <a:moveTo>
                  <a:pt x="6055314" y="295742"/>
                </a:moveTo>
                <a:cubicBezTo>
                  <a:pt x="5853417" y="295742"/>
                  <a:pt x="5665855" y="357119"/>
                  <a:pt x="5510268" y="462231"/>
                </a:cubicBezTo>
                <a:lnTo>
                  <a:pt x="5467272" y="497706"/>
                </a:lnTo>
                <a:lnTo>
                  <a:pt x="5513998" y="560191"/>
                </a:lnTo>
                <a:cubicBezTo>
                  <a:pt x="5650998" y="762978"/>
                  <a:pt x="5730994" y="1007442"/>
                  <a:pt x="5730994" y="1270589"/>
                </a:cubicBezTo>
                <a:cubicBezTo>
                  <a:pt x="5730994" y="1533737"/>
                  <a:pt x="5650998" y="1778200"/>
                  <a:pt x="5513998" y="1980988"/>
                </a:cubicBezTo>
                <a:lnTo>
                  <a:pt x="5467272" y="2043473"/>
                </a:lnTo>
                <a:lnTo>
                  <a:pt x="5510268" y="2078948"/>
                </a:lnTo>
                <a:cubicBezTo>
                  <a:pt x="5665855" y="2184060"/>
                  <a:pt x="5853417" y="2245436"/>
                  <a:pt x="6055314" y="2245436"/>
                </a:cubicBezTo>
                <a:cubicBezTo>
                  <a:pt x="6593707" y="2245436"/>
                  <a:pt x="7030161" y="1808982"/>
                  <a:pt x="7030161" y="1270589"/>
                </a:cubicBezTo>
                <a:cubicBezTo>
                  <a:pt x="7030161" y="732196"/>
                  <a:pt x="6593707" y="295742"/>
                  <a:pt x="6055314" y="295742"/>
                </a:cubicBezTo>
                <a:close/>
                <a:moveTo>
                  <a:pt x="4460405" y="295742"/>
                </a:moveTo>
                <a:cubicBezTo>
                  <a:pt x="4258508" y="295742"/>
                  <a:pt x="4070946" y="357119"/>
                  <a:pt x="3915359" y="462231"/>
                </a:cubicBezTo>
                <a:lnTo>
                  <a:pt x="3872364" y="497705"/>
                </a:lnTo>
                <a:lnTo>
                  <a:pt x="3919090" y="560191"/>
                </a:lnTo>
                <a:cubicBezTo>
                  <a:pt x="4056090" y="762978"/>
                  <a:pt x="4136086" y="1007442"/>
                  <a:pt x="4136086" y="1270589"/>
                </a:cubicBezTo>
                <a:cubicBezTo>
                  <a:pt x="4136086" y="1533737"/>
                  <a:pt x="4056090" y="1778200"/>
                  <a:pt x="3919090" y="1980988"/>
                </a:cubicBezTo>
                <a:lnTo>
                  <a:pt x="3872364" y="2043473"/>
                </a:lnTo>
                <a:lnTo>
                  <a:pt x="3915359" y="2078948"/>
                </a:lnTo>
                <a:cubicBezTo>
                  <a:pt x="4070946" y="2184060"/>
                  <a:pt x="4258508" y="2245436"/>
                  <a:pt x="4460405" y="2245436"/>
                </a:cubicBezTo>
                <a:cubicBezTo>
                  <a:pt x="4662303" y="2245436"/>
                  <a:pt x="4849865" y="2184060"/>
                  <a:pt x="5005451" y="2078948"/>
                </a:cubicBezTo>
                <a:lnTo>
                  <a:pt x="5048447" y="2043473"/>
                </a:lnTo>
                <a:lnTo>
                  <a:pt x="5001722" y="1980988"/>
                </a:lnTo>
                <a:cubicBezTo>
                  <a:pt x="4864721" y="1778200"/>
                  <a:pt x="4784725" y="1533737"/>
                  <a:pt x="4784725" y="1270589"/>
                </a:cubicBezTo>
                <a:cubicBezTo>
                  <a:pt x="4784725" y="1007442"/>
                  <a:pt x="4864721" y="762978"/>
                  <a:pt x="5001722" y="560191"/>
                </a:cubicBezTo>
                <a:lnTo>
                  <a:pt x="5048447" y="497706"/>
                </a:lnTo>
                <a:lnTo>
                  <a:pt x="5005451" y="462231"/>
                </a:lnTo>
                <a:cubicBezTo>
                  <a:pt x="4849865" y="357119"/>
                  <a:pt x="4662303" y="295742"/>
                  <a:pt x="4460405" y="295742"/>
                </a:cubicBezTo>
                <a:close/>
                <a:moveTo>
                  <a:pt x="2865497" y="295742"/>
                </a:moveTo>
                <a:cubicBezTo>
                  <a:pt x="2663600" y="295742"/>
                  <a:pt x="2476038" y="357119"/>
                  <a:pt x="2320451" y="462231"/>
                </a:cubicBezTo>
                <a:lnTo>
                  <a:pt x="2277456" y="497705"/>
                </a:lnTo>
                <a:lnTo>
                  <a:pt x="2324182" y="560191"/>
                </a:lnTo>
                <a:cubicBezTo>
                  <a:pt x="2461182" y="762978"/>
                  <a:pt x="2541178" y="1007442"/>
                  <a:pt x="2541178" y="1270589"/>
                </a:cubicBezTo>
                <a:cubicBezTo>
                  <a:pt x="2541178" y="1533737"/>
                  <a:pt x="2461182" y="1778200"/>
                  <a:pt x="2324182" y="1980988"/>
                </a:cubicBezTo>
                <a:lnTo>
                  <a:pt x="2277456" y="2043473"/>
                </a:lnTo>
                <a:lnTo>
                  <a:pt x="2320451" y="2078948"/>
                </a:lnTo>
                <a:cubicBezTo>
                  <a:pt x="2476038" y="2184060"/>
                  <a:pt x="2663600" y="2245436"/>
                  <a:pt x="2865497" y="2245436"/>
                </a:cubicBezTo>
                <a:cubicBezTo>
                  <a:pt x="3067395" y="2245436"/>
                  <a:pt x="3254957" y="2184060"/>
                  <a:pt x="3410544" y="2078948"/>
                </a:cubicBezTo>
                <a:lnTo>
                  <a:pt x="3453539" y="2043473"/>
                </a:lnTo>
                <a:lnTo>
                  <a:pt x="3406813" y="1980988"/>
                </a:lnTo>
                <a:cubicBezTo>
                  <a:pt x="3269813" y="1778200"/>
                  <a:pt x="3189816" y="1533737"/>
                  <a:pt x="3189816" y="1270589"/>
                </a:cubicBezTo>
                <a:cubicBezTo>
                  <a:pt x="3189816" y="1007442"/>
                  <a:pt x="3269813" y="762978"/>
                  <a:pt x="3406813" y="560191"/>
                </a:cubicBezTo>
                <a:lnTo>
                  <a:pt x="3453539" y="497705"/>
                </a:lnTo>
                <a:lnTo>
                  <a:pt x="3410544" y="462231"/>
                </a:lnTo>
                <a:cubicBezTo>
                  <a:pt x="3254957" y="357119"/>
                  <a:pt x="3067395" y="295742"/>
                  <a:pt x="2865497" y="295742"/>
                </a:cubicBezTo>
                <a:close/>
                <a:moveTo>
                  <a:pt x="1270589" y="295742"/>
                </a:moveTo>
                <a:cubicBezTo>
                  <a:pt x="732196" y="295742"/>
                  <a:pt x="295742" y="732196"/>
                  <a:pt x="295742" y="1270589"/>
                </a:cubicBezTo>
                <a:cubicBezTo>
                  <a:pt x="295742" y="1808982"/>
                  <a:pt x="732196" y="2245436"/>
                  <a:pt x="1270589" y="2245436"/>
                </a:cubicBezTo>
                <a:cubicBezTo>
                  <a:pt x="1472487" y="2245436"/>
                  <a:pt x="1660049" y="2184060"/>
                  <a:pt x="1815635" y="2078948"/>
                </a:cubicBezTo>
                <a:lnTo>
                  <a:pt x="1858631" y="2043473"/>
                </a:lnTo>
                <a:lnTo>
                  <a:pt x="1811905" y="1980988"/>
                </a:lnTo>
                <a:cubicBezTo>
                  <a:pt x="1674904" y="1778200"/>
                  <a:pt x="1594908" y="1533737"/>
                  <a:pt x="1594908" y="1270589"/>
                </a:cubicBezTo>
                <a:cubicBezTo>
                  <a:pt x="1594908" y="1007442"/>
                  <a:pt x="1674904" y="762978"/>
                  <a:pt x="1811905" y="560191"/>
                </a:cubicBezTo>
                <a:lnTo>
                  <a:pt x="1858631" y="497705"/>
                </a:lnTo>
                <a:lnTo>
                  <a:pt x="1815635" y="462231"/>
                </a:lnTo>
                <a:cubicBezTo>
                  <a:pt x="1660049" y="357119"/>
                  <a:pt x="1472487" y="295742"/>
                  <a:pt x="1270589" y="295742"/>
                </a:cubicBezTo>
                <a:close/>
                <a:moveTo>
                  <a:pt x="1270589" y="0"/>
                </a:moveTo>
                <a:cubicBezTo>
                  <a:pt x="1533737" y="0"/>
                  <a:pt x="1778200" y="79996"/>
                  <a:pt x="1980988" y="216997"/>
                </a:cubicBezTo>
                <a:lnTo>
                  <a:pt x="2068043" y="282096"/>
                </a:lnTo>
                <a:lnTo>
                  <a:pt x="2155099" y="216997"/>
                </a:lnTo>
                <a:cubicBezTo>
                  <a:pt x="2357886" y="79996"/>
                  <a:pt x="2602350" y="0"/>
                  <a:pt x="2865497" y="0"/>
                </a:cubicBezTo>
                <a:cubicBezTo>
                  <a:pt x="3128645" y="0"/>
                  <a:pt x="3373109" y="79996"/>
                  <a:pt x="3575896" y="216997"/>
                </a:cubicBezTo>
                <a:lnTo>
                  <a:pt x="3662951" y="282096"/>
                </a:lnTo>
                <a:lnTo>
                  <a:pt x="3750007" y="216997"/>
                </a:lnTo>
                <a:cubicBezTo>
                  <a:pt x="3952794" y="79996"/>
                  <a:pt x="4197258" y="0"/>
                  <a:pt x="4460405" y="0"/>
                </a:cubicBezTo>
                <a:cubicBezTo>
                  <a:pt x="4723553" y="0"/>
                  <a:pt x="4968016" y="79996"/>
                  <a:pt x="5170804" y="216997"/>
                </a:cubicBezTo>
                <a:lnTo>
                  <a:pt x="5257860" y="282096"/>
                </a:lnTo>
                <a:lnTo>
                  <a:pt x="5344916" y="216997"/>
                </a:lnTo>
                <a:cubicBezTo>
                  <a:pt x="5547703" y="79996"/>
                  <a:pt x="5792167" y="0"/>
                  <a:pt x="6055314" y="0"/>
                </a:cubicBezTo>
                <a:cubicBezTo>
                  <a:pt x="6757041" y="0"/>
                  <a:pt x="7325903" y="568862"/>
                  <a:pt x="7325903" y="1270589"/>
                </a:cubicBezTo>
                <a:cubicBezTo>
                  <a:pt x="7325903" y="1972316"/>
                  <a:pt x="6757041" y="2541178"/>
                  <a:pt x="6055314" y="2541178"/>
                </a:cubicBezTo>
                <a:cubicBezTo>
                  <a:pt x="5792167" y="2541178"/>
                  <a:pt x="5547703" y="2461182"/>
                  <a:pt x="5344916" y="2324182"/>
                </a:cubicBezTo>
                <a:lnTo>
                  <a:pt x="5257860" y="2259082"/>
                </a:lnTo>
                <a:lnTo>
                  <a:pt x="5170804" y="2324182"/>
                </a:lnTo>
                <a:cubicBezTo>
                  <a:pt x="4968016" y="2461182"/>
                  <a:pt x="4723553" y="2541178"/>
                  <a:pt x="4460405" y="2541178"/>
                </a:cubicBezTo>
                <a:cubicBezTo>
                  <a:pt x="4197258" y="2541178"/>
                  <a:pt x="3952794" y="2461182"/>
                  <a:pt x="3750007" y="2324182"/>
                </a:cubicBezTo>
                <a:lnTo>
                  <a:pt x="3662951" y="2259083"/>
                </a:lnTo>
                <a:lnTo>
                  <a:pt x="3575896" y="2324182"/>
                </a:lnTo>
                <a:cubicBezTo>
                  <a:pt x="3373109" y="2461182"/>
                  <a:pt x="3128645" y="2541178"/>
                  <a:pt x="2865497" y="2541178"/>
                </a:cubicBezTo>
                <a:cubicBezTo>
                  <a:pt x="2602350" y="2541178"/>
                  <a:pt x="2357886" y="2461182"/>
                  <a:pt x="2155099" y="2324182"/>
                </a:cubicBezTo>
                <a:lnTo>
                  <a:pt x="2068043" y="2259083"/>
                </a:lnTo>
                <a:lnTo>
                  <a:pt x="1980988" y="2324182"/>
                </a:lnTo>
                <a:cubicBezTo>
                  <a:pt x="1778200" y="2461182"/>
                  <a:pt x="1533737" y="2541178"/>
                  <a:pt x="1270589" y="2541178"/>
                </a:cubicBezTo>
                <a:cubicBezTo>
                  <a:pt x="568862" y="2541178"/>
                  <a:pt x="0" y="1972316"/>
                  <a:pt x="0" y="1270589"/>
                </a:cubicBezTo>
                <a:cubicBezTo>
                  <a:pt x="0" y="568862"/>
                  <a:pt x="568862" y="0"/>
                  <a:pt x="1270589" y="0"/>
                </a:cubicBezTo>
                <a:close/>
              </a:path>
            </a:pathLst>
          </a:custGeom>
          <a:solidFill>
            <a:schemeClr val="bg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8093156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+ Text (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0" y="1089025"/>
            <a:ext cx="8128000" cy="576897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sp>
        <p:nvSpPr>
          <p:cNvPr id="6" name="Rechteck 5"/>
          <p:cNvSpPr/>
          <p:nvPr userDrawn="1"/>
        </p:nvSpPr>
        <p:spPr>
          <a:xfrm>
            <a:off x="8128000" y="1089026"/>
            <a:ext cx="4064000" cy="5768974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8328248" y="1260764"/>
            <a:ext cx="3708177" cy="544483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16000" indent="-216000">
              <a:buClr>
                <a:schemeClr val="bg1"/>
              </a:buClr>
              <a:buSzPct val="150000"/>
              <a:buFont typeface="Audi Type Normal" panose="000B0503040202020203" pitchFamily="34" charset="0"/>
              <a:buChar char="›"/>
              <a:defRPr>
                <a:solidFill>
                  <a:schemeClr val="bg1"/>
                </a:solidFill>
              </a:defRPr>
            </a:lvl2pPr>
            <a:lvl3pPr marL="432000" indent="-216000">
              <a:buClr>
                <a:schemeClr val="bg1"/>
              </a:buClr>
              <a:buSzPct val="150000"/>
              <a:buFont typeface="Audi Type Normal" panose="000B0503040202020203" pitchFamily="34" charset="0"/>
              <a:buChar char="›"/>
              <a:defRPr>
                <a:solidFill>
                  <a:schemeClr val="bg1"/>
                </a:solidFill>
              </a:defRPr>
            </a:lvl3pPr>
            <a:lvl4pPr marL="648000" indent="-216000">
              <a:buClr>
                <a:schemeClr val="bg1"/>
              </a:buClr>
              <a:buSzPct val="150000"/>
              <a:buFont typeface="Audi Type Normal" panose="000B0503040202020203" pitchFamily="34" charset="0"/>
              <a:buChar char="›"/>
              <a:defRPr>
                <a:solidFill>
                  <a:schemeClr val="bg1"/>
                </a:solidFill>
              </a:defRPr>
            </a:lvl4pPr>
            <a:lvl5pPr marL="864000" indent="-216000">
              <a:buClr>
                <a:schemeClr val="bg1"/>
              </a:buClr>
              <a:buSzPct val="150000"/>
              <a:buFont typeface="Audi Type Normal" panose="000B0503040202020203" pitchFamily="34" charset="0"/>
              <a:buChar char="–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(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3182342"/>
            <a:ext cx="9711992" cy="1415772"/>
          </a:xfrm>
        </p:spPr>
        <p:txBody>
          <a:bodyPr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Titel des </a:t>
            </a:r>
            <a:r>
              <a:rPr lang="de-DE" noProof="0" err="1"/>
              <a:t>Kapiteltrenners</a:t>
            </a:r>
            <a:r>
              <a:rPr lang="de-DE" noProof="0"/>
              <a:t> in maximal drei Zeil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4797247"/>
            <a:ext cx="9711992" cy="286617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defRPr sz="1800" b="0" i="0">
                <a:solidFill>
                  <a:schemeClr val="bg1"/>
                </a:solidFill>
                <a:latin typeface="Audi Type Extended Normal" panose="020B0505040200000003" pitchFamily="34" charset="0"/>
                <a:ea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Untertitel und/oder erklärender Text zum Kapitel</a:t>
            </a:r>
          </a:p>
        </p:txBody>
      </p:sp>
    </p:spTree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1 (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01C5B37-2AED-594D-B478-083E84A8CC3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5845" y="3297957"/>
            <a:ext cx="9232900" cy="852805"/>
          </a:xfrm>
        </p:spPr>
        <p:txBody>
          <a:bodyPr anchor="ctr"/>
          <a:lstStyle>
            <a:lvl1pPr algn="r">
              <a:defRPr sz="6800" b="1" i="0">
                <a:solidFill>
                  <a:schemeClr val="bg1"/>
                </a:solidFill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Vielen Dank!</a:t>
            </a:r>
          </a:p>
        </p:txBody>
      </p:sp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2 (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Freihandform 12">
            <a:extLst>
              <a:ext uri="{FF2B5EF4-FFF2-40B4-BE49-F238E27FC236}">
                <a16:creationId xmlns:a16="http://schemas.microsoft.com/office/drawing/2014/main" id="{08F5C035-7531-5C46-9797-C0AAE64DA486}"/>
              </a:ext>
            </a:extLst>
          </p:cNvPr>
          <p:cNvSpPr/>
          <p:nvPr userDrawn="1"/>
        </p:nvSpPr>
        <p:spPr>
          <a:xfrm>
            <a:off x="1" y="0"/>
            <a:ext cx="12192001" cy="6858001"/>
          </a:xfrm>
          <a:custGeom>
            <a:avLst/>
            <a:gdLst>
              <a:gd name="connsiteX0" fmla="*/ 11850404 w 12192001"/>
              <a:gd name="connsiteY0" fmla="*/ 6343657 h 6858001"/>
              <a:gd name="connsiteX1" fmla="*/ 12192001 w 12192001"/>
              <a:gd name="connsiteY1" fmla="*/ 6343657 h 6858001"/>
              <a:gd name="connsiteX2" fmla="*/ 12192001 w 12192001"/>
              <a:gd name="connsiteY2" fmla="*/ 6858001 h 6858001"/>
              <a:gd name="connsiteX3" fmla="*/ 11850404 w 12192001"/>
              <a:gd name="connsiteY3" fmla="*/ 6858001 h 6858001"/>
              <a:gd name="connsiteX4" fmla="*/ 4760848 w 12192001"/>
              <a:gd name="connsiteY4" fmla="*/ 6104184 h 6858001"/>
              <a:gd name="connsiteX5" fmla="*/ 4444496 w 12192001"/>
              <a:gd name="connsiteY5" fmla="*/ 6116997 h 6858001"/>
              <a:gd name="connsiteX6" fmla="*/ 4228881 w 12192001"/>
              <a:gd name="connsiteY6" fmla="*/ 6158971 h 6858001"/>
              <a:gd name="connsiteX7" fmla="*/ 4105608 w 12192001"/>
              <a:gd name="connsiteY7" fmla="*/ 6234524 h 6858001"/>
              <a:gd name="connsiteX8" fmla="*/ 4066285 w 12192001"/>
              <a:gd name="connsiteY8" fmla="*/ 6347192 h 6858001"/>
              <a:gd name="connsiteX9" fmla="*/ 4086609 w 12192001"/>
              <a:gd name="connsiteY9" fmla="*/ 6432908 h 6858001"/>
              <a:gd name="connsiteX10" fmla="*/ 4150675 w 12192001"/>
              <a:gd name="connsiteY10" fmla="*/ 6504485 h 6858001"/>
              <a:gd name="connsiteX11" fmla="*/ 4263343 w 12192001"/>
              <a:gd name="connsiteY11" fmla="*/ 6553528 h 6858001"/>
              <a:gd name="connsiteX12" fmla="*/ 4428590 w 12192001"/>
              <a:gd name="connsiteY12" fmla="*/ 6571643 h 6858001"/>
              <a:gd name="connsiteX13" fmla="*/ 4621669 w 12192001"/>
              <a:gd name="connsiteY13" fmla="*/ 6559272 h 6858001"/>
              <a:gd name="connsiteX14" fmla="*/ 4786917 w 12192001"/>
              <a:gd name="connsiteY14" fmla="*/ 6524809 h 6858001"/>
              <a:gd name="connsiteX15" fmla="*/ 4928302 w 12192001"/>
              <a:gd name="connsiteY15" fmla="*/ 6472231 h 6858001"/>
              <a:gd name="connsiteX16" fmla="*/ 5050690 w 12192001"/>
              <a:gd name="connsiteY16" fmla="*/ 6404630 h 6858001"/>
              <a:gd name="connsiteX17" fmla="*/ 5050690 w 12192001"/>
              <a:gd name="connsiteY17" fmla="*/ 6104184 h 6858001"/>
              <a:gd name="connsiteX18" fmla="*/ 7588077 w 12192001"/>
              <a:gd name="connsiteY18" fmla="*/ 4974857 h 6858001"/>
              <a:gd name="connsiteX19" fmla="*/ 7829318 w 12192001"/>
              <a:gd name="connsiteY19" fmla="*/ 4989879 h 6858001"/>
              <a:gd name="connsiteX20" fmla="*/ 8050677 w 12192001"/>
              <a:gd name="connsiteY20" fmla="*/ 5040690 h 6858001"/>
              <a:gd name="connsiteX21" fmla="*/ 8241107 w 12192001"/>
              <a:gd name="connsiteY21" fmla="*/ 5137010 h 6858001"/>
              <a:gd name="connsiteX22" fmla="*/ 8390005 w 12192001"/>
              <a:gd name="connsiteY22" fmla="*/ 5289001 h 6858001"/>
              <a:gd name="connsiteX23" fmla="*/ 8487209 w 12192001"/>
              <a:gd name="connsiteY23" fmla="*/ 5505941 h 6858001"/>
              <a:gd name="connsiteX24" fmla="*/ 8522113 w 12192001"/>
              <a:gd name="connsiteY24" fmla="*/ 5796667 h 6858001"/>
              <a:gd name="connsiteX25" fmla="*/ 8522113 w 12192001"/>
              <a:gd name="connsiteY25" fmla="*/ 6858001 h 6858001"/>
              <a:gd name="connsiteX26" fmla="*/ 7953916 w 12192001"/>
              <a:gd name="connsiteY26" fmla="*/ 6858001 h 6858001"/>
              <a:gd name="connsiteX27" fmla="*/ 7953916 w 12192001"/>
              <a:gd name="connsiteY27" fmla="*/ 5869128 h 6858001"/>
              <a:gd name="connsiteX28" fmla="*/ 7926522 w 12192001"/>
              <a:gd name="connsiteY28" fmla="*/ 5666327 h 6858001"/>
              <a:gd name="connsiteX29" fmla="*/ 7840364 w 12192001"/>
              <a:gd name="connsiteY29" fmla="*/ 5523173 h 6858001"/>
              <a:gd name="connsiteX30" fmla="*/ 7689699 w 12192001"/>
              <a:gd name="connsiteY30" fmla="*/ 5437899 h 6858001"/>
              <a:gd name="connsiteX31" fmla="*/ 7468782 w 12192001"/>
              <a:gd name="connsiteY31" fmla="*/ 5409621 h 6858001"/>
              <a:gd name="connsiteX32" fmla="*/ 7278795 w 12192001"/>
              <a:gd name="connsiteY32" fmla="*/ 5422434 h 6858001"/>
              <a:gd name="connsiteX33" fmla="*/ 7113550 w 12192001"/>
              <a:gd name="connsiteY33" fmla="*/ 5456456 h 6858001"/>
              <a:gd name="connsiteX34" fmla="*/ 6969511 w 12192001"/>
              <a:gd name="connsiteY34" fmla="*/ 5505941 h 6858001"/>
              <a:gd name="connsiteX35" fmla="*/ 6842263 w 12192001"/>
              <a:gd name="connsiteY35" fmla="*/ 5565147 h 6858001"/>
              <a:gd name="connsiteX36" fmla="*/ 6842263 w 12192001"/>
              <a:gd name="connsiteY36" fmla="*/ 6858001 h 6858001"/>
              <a:gd name="connsiteX37" fmla="*/ 6274065 w 12192001"/>
              <a:gd name="connsiteY37" fmla="*/ 6858001 h 6858001"/>
              <a:gd name="connsiteX38" fmla="*/ 6274065 w 12192001"/>
              <a:gd name="connsiteY38" fmla="*/ 5033179 h 6858001"/>
              <a:gd name="connsiteX39" fmla="*/ 6770686 w 12192001"/>
              <a:gd name="connsiteY39" fmla="*/ 5033179 h 6858001"/>
              <a:gd name="connsiteX40" fmla="*/ 6810451 w 12192001"/>
              <a:gd name="connsiteY40" fmla="*/ 5246143 h 6858001"/>
              <a:gd name="connsiteX41" fmla="*/ 6966860 w 12192001"/>
              <a:gd name="connsiteY41" fmla="*/ 5132150 h 6858001"/>
              <a:gd name="connsiteX42" fmla="*/ 7150664 w 12192001"/>
              <a:gd name="connsiteY42" fmla="*/ 5046876 h 6858001"/>
              <a:gd name="connsiteX43" fmla="*/ 7358766 w 12192001"/>
              <a:gd name="connsiteY43" fmla="*/ 4993414 h 6858001"/>
              <a:gd name="connsiteX44" fmla="*/ 7588077 w 12192001"/>
              <a:gd name="connsiteY44" fmla="*/ 4974857 h 6858001"/>
              <a:gd name="connsiteX45" fmla="*/ 4529326 w 12192001"/>
              <a:gd name="connsiteY45" fmla="*/ 4974857 h 6858001"/>
              <a:gd name="connsiteX46" fmla="*/ 4985741 w 12192001"/>
              <a:gd name="connsiteY46" fmla="*/ 5017273 h 6858001"/>
              <a:gd name="connsiteX47" fmla="*/ 5323302 w 12192001"/>
              <a:gd name="connsiteY47" fmla="*/ 5151591 h 6858001"/>
              <a:gd name="connsiteX48" fmla="*/ 5532730 w 12192001"/>
              <a:gd name="connsiteY48" fmla="*/ 5388413 h 6858001"/>
              <a:gd name="connsiteX49" fmla="*/ 5604748 w 12192001"/>
              <a:gd name="connsiteY49" fmla="*/ 5738345 h 6858001"/>
              <a:gd name="connsiteX50" fmla="*/ 5604748 w 12192001"/>
              <a:gd name="connsiteY50" fmla="*/ 6858001 h 6858001"/>
              <a:gd name="connsiteX51" fmla="*/ 5109968 w 12192001"/>
              <a:gd name="connsiteY51" fmla="*/ 6858001 h 6858001"/>
              <a:gd name="connsiteX52" fmla="*/ 5079851 w 12192001"/>
              <a:gd name="connsiteY52" fmla="*/ 6701542 h 6858001"/>
              <a:gd name="connsiteX53" fmla="*/ 4926093 w 12192001"/>
              <a:gd name="connsiteY53" fmla="*/ 6805815 h 6858001"/>
              <a:gd name="connsiteX54" fmla="*/ 4802339 w 12192001"/>
              <a:gd name="connsiteY54" fmla="*/ 6858001 h 6858001"/>
              <a:gd name="connsiteX55" fmla="*/ 3808692 w 12192001"/>
              <a:gd name="connsiteY55" fmla="*/ 6858001 h 6858001"/>
              <a:gd name="connsiteX56" fmla="*/ 3702214 w 12192001"/>
              <a:gd name="connsiteY56" fmla="*/ 6798304 h 6858001"/>
              <a:gd name="connsiteX57" fmla="*/ 3542712 w 12192001"/>
              <a:gd name="connsiteY57" fmla="*/ 6616269 h 6858001"/>
              <a:gd name="connsiteX58" fmla="*/ 3487483 w 12192001"/>
              <a:gd name="connsiteY58" fmla="*/ 6368400 h 6858001"/>
              <a:gd name="connsiteX59" fmla="*/ 3527690 w 12192001"/>
              <a:gd name="connsiteY59" fmla="*/ 6163389 h 6858001"/>
              <a:gd name="connsiteX60" fmla="*/ 3642566 w 12192001"/>
              <a:gd name="connsiteY60" fmla="*/ 6007864 h 6858001"/>
              <a:gd name="connsiteX61" fmla="*/ 3823277 w 12192001"/>
              <a:gd name="connsiteY61" fmla="*/ 5896080 h 6858001"/>
              <a:gd name="connsiteX62" fmla="*/ 4060983 w 12192001"/>
              <a:gd name="connsiteY62" fmla="*/ 5822736 h 6858001"/>
              <a:gd name="connsiteX63" fmla="*/ 4347292 w 12192001"/>
              <a:gd name="connsiteY63" fmla="*/ 5782971 h 6858001"/>
              <a:gd name="connsiteX64" fmla="*/ 4674250 w 12192001"/>
              <a:gd name="connsiteY64" fmla="*/ 5771041 h 6858001"/>
              <a:gd name="connsiteX65" fmla="*/ 4812542 w 12192001"/>
              <a:gd name="connsiteY65" fmla="*/ 5772808 h 6858001"/>
              <a:gd name="connsiteX66" fmla="*/ 4937582 w 12192001"/>
              <a:gd name="connsiteY66" fmla="*/ 5777227 h 6858001"/>
              <a:gd name="connsiteX67" fmla="*/ 5050690 w 12192001"/>
              <a:gd name="connsiteY67" fmla="*/ 5782529 h 6858001"/>
              <a:gd name="connsiteX68" fmla="*/ 5050690 w 12192001"/>
              <a:gd name="connsiteY68" fmla="*/ 5778994 h 6858001"/>
              <a:gd name="connsiteX69" fmla="*/ 5013576 w 12192001"/>
              <a:gd name="connsiteY69" fmla="*/ 5610656 h 6858001"/>
              <a:gd name="connsiteX70" fmla="*/ 4903559 w 12192001"/>
              <a:gd name="connsiteY70" fmla="*/ 5494895 h 6858001"/>
              <a:gd name="connsiteX71" fmla="*/ 4722410 w 12192001"/>
              <a:gd name="connsiteY71" fmla="*/ 5427736 h 6858001"/>
              <a:gd name="connsiteX72" fmla="*/ 4471889 w 12192001"/>
              <a:gd name="connsiteY72" fmla="*/ 5406087 h 6858001"/>
              <a:gd name="connsiteX73" fmla="*/ 4245671 w 12192001"/>
              <a:gd name="connsiteY73" fmla="*/ 5417574 h 6858001"/>
              <a:gd name="connsiteX74" fmla="*/ 4039333 w 12192001"/>
              <a:gd name="connsiteY74" fmla="*/ 5449386 h 6858001"/>
              <a:gd name="connsiteX75" fmla="*/ 3851995 w 12192001"/>
              <a:gd name="connsiteY75" fmla="*/ 5497546 h 6858001"/>
              <a:gd name="connsiteX76" fmla="*/ 3682773 w 12192001"/>
              <a:gd name="connsiteY76" fmla="*/ 5558077 h 6858001"/>
              <a:gd name="connsiteX77" fmla="*/ 3682773 w 12192001"/>
              <a:gd name="connsiteY77" fmla="*/ 5152474 h 6858001"/>
              <a:gd name="connsiteX78" fmla="*/ 3855972 w 12192001"/>
              <a:gd name="connsiteY78" fmla="*/ 5080014 h 6858001"/>
              <a:gd name="connsiteX79" fmla="*/ 4058332 w 12192001"/>
              <a:gd name="connsiteY79" fmla="*/ 5023901 h 6858001"/>
              <a:gd name="connsiteX80" fmla="*/ 4284553 w 12192001"/>
              <a:gd name="connsiteY80" fmla="*/ 4987670 h 6858001"/>
              <a:gd name="connsiteX81" fmla="*/ 4529326 w 12192001"/>
              <a:gd name="connsiteY81" fmla="*/ 4974857 h 6858001"/>
              <a:gd name="connsiteX82" fmla="*/ 927332 w 12192001"/>
              <a:gd name="connsiteY82" fmla="*/ 4696502 h 6858001"/>
              <a:gd name="connsiteX83" fmla="*/ 927332 w 12192001"/>
              <a:gd name="connsiteY83" fmla="*/ 6462069 h 6858001"/>
              <a:gd name="connsiteX84" fmla="*/ 1502599 w 12192001"/>
              <a:gd name="connsiteY84" fmla="*/ 6462069 h 6858001"/>
              <a:gd name="connsiteX85" fmla="*/ 1833091 w 12192001"/>
              <a:gd name="connsiteY85" fmla="*/ 6432921 h 6858001"/>
              <a:gd name="connsiteX86" fmla="*/ 2086703 w 12192001"/>
              <a:gd name="connsiteY86" fmla="*/ 6349015 h 6858001"/>
              <a:gd name="connsiteX87" fmla="*/ 2271390 w 12192001"/>
              <a:gd name="connsiteY87" fmla="*/ 6216091 h 6858001"/>
              <a:gd name="connsiteX88" fmla="*/ 2394219 w 12192001"/>
              <a:gd name="connsiteY88" fmla="*/ 6039448 h 6858001"/>
              <a:gd name="connsiteX89" fmla="*/ 2462261 w 12192001"/>
              <a:gd name="connsiteY89" fmla="*/ 5825262 h 6858001"/>
              <a:gd name="connsiteX90" fmla="*/ 2483469 w 12192001"/>
              <a:gd name="connsiteY90" fmla="*/ 5578844 h 6858001"/>
              <a:gd name="connsiteX91" fmla="*/ 2462261 w 12192001"/>
              <a:gd name="connsiteY91" fmla="*/ 5332425 h 6858001"/>
              <a:gd name="connsiteX92" fmla="*/ 2394219 w 12192001"/>
              <a:gd name="connsiteY92" fmla="*/ 5118681 h 6858001"/>
              <a:gd name="connsiteX93" fmla="*/ 2271390 w 12192001"/>
              <a:gd name="connsiteY93" fmla="*/ 4942479 h 6858001"/>
              <a:gd name="connsiteX94" fmla="*/ 2086703 w 12192001"/>
              <a:gd name="connsiteY94" fmla="*/ 4809556 h 6858001"/>
              <a:gd name="connsiteX95" fmla="*/ 1833091 w 12192001"/>
              <a:gd name="connsiteY95" fmla="*/ 4725649 h 6858001"/>
              <a:gd name="connsiteX96" fmla="*/ 1502599 w 12192001"/>
              <a:gd name="connsiteY96" fmla="*/ 4696502 h 6858001"/>
              <a:gd name="connsiteX97" fmla="*/ 11857474 w 12192001"/>
              <a:gd name="connsiteY97" fmla="*/ 4268807 h 6858001"/>
              <a:gd name="connsiteX98" fmla="*/ 12192001 w 12192001"/>
              <a:gd name="connsiteY98" fmla="*/ 4268807 h 6858001"/>
              <a:gd name="connsiteX99" fmla="*/ 12192001 w 12192001"/>
              <a:gd name="connsiteY99" fmla="*/ 6064419 h 6858001"/>
              <a:gd name="connsiteX100" fmla="*/ 11976769 w 12192001"/>
              <a:gd name="connsiteY100" fmla="*/ 6064419 h 6858001"/>
              <a:gd name="connsiteX101" fmla="*/ 11921981 w 12192001"/>
              <a:gd name="connsiteY101" fmla="*/ 5724207 h 6858001"/>
              <a:gd name="connsiteX102" fmla="*/ 11907401 w 12192001"/>
              <a:gd name="connsiteY102" fmla="*/ 5621260 h 6858001"/>
              <a:gd name="connsiteX103" fmla="*/ 11892820 w 12192001"/>
              <a:gd name="connsiteY103" fmla="*/ 5492686 h 6858001"/>
              <a:gd name="connsiteX104" fmla="*/ 11879124 w 12192001"/>
              <a:gd name="connsiteY104" fmla="*/ 5348648 h 6858001"/>
              <a:gd name="connsiteX105" fmla="*/ 11867636 w 12192001"/>
              <a:gd name="connsiteY105" fmla="*/ 5197983 h 6858001"/>
              <a:gd name="connsiteX106" fmla="*/ 11860125 w 12192001"/>
              <a:gd name="connsiteY106" fmla="*/ 5049969 h 6858001"/>
              <a:gd name="connsiteX107" fmla="*/ 11857474 w 12192001"/>
              <a:gd name="connsiteY107" fmla="*/ 4913884 h 6858001"/>
              <a:gd name="connsiteX108" fmla="*/ 9179190 w 12192001"/>
              <a:gd name="connsiteY108" fmla="*/ 4268807 h 6858001"/>
              <a:gd name="connsiteX109" fmla="*/ 9747387 w 12192001"/>
              <a:gd name="connsiteY109" fmla="*/ 4268807 h 6858001"/>
              <a:gd name="connsiteX110" fmla="*/ 9747387 w 12192001"/>
              <a:gd name="connsiteY110" fmla="*/ 5789211 h 6858001"/>
              <a:gd name="connsiteX111" fmla="*/ 10670819 w 12192001"/>
              <a:gd name="connsiteY111" fmla="*/ 5033179 h 6858001"/>
              <a:gd name="connsiteX112" fmla="*/ 11413100 w 12192001"/>
              <a:gd name="connsiteY112" fmla="*/ 5033179 h 6858001"/>
              <a:gd name="connsiteX113" fmla="*/ 10580685 w 12192001"/>
              <a:gd name="connsiteY113" fmla="*/ 5698235 h 6858001"/>
              <a:gd name="connsiteX114" fmla="*/ 10515736 w 12192001"/>
              <a:gd name="connsiteY114" fmla="*/ 5749474 h 6858001"/>
              <a:gd name="connsiteX115" fmla="*/ 10451670 w 12192001"/>
              <a:gd name="connsiteY115" fmla="*/ 5800257 h 6858001"/>
              <a:gd name="connsiteX116" fmla="*/ 10388046 w 12192001"/>
              <a:gd name="connsiteY116" fmla="*/ 5850598 h 6858001"/>
              <a:gd name="connsiteX117" fmla="*/ 10323538 w 12192001"/>
              <a:gd name="connsiteY117" fmla="*/ 5901382 h 6858001"/>
              <a:gd name="connsiteX118" fmla="*/ 10386279 w 12192001"/>
              <a:gd name="connsiteY118" fmla="*/ 5956638 h 6858001"/>
              <a:gd name="connsiteX119" fmla="*/ 10449903 w 12192001"/>
              <a:gd name="connsiteY119" fmla="*/ 6012330 h 6858001"/>
              <a:gd name="connsiteX120" fmla="*/ 10513527 w 12192001"/>
              <a:gd name="connsiteY120" fmla="*/ 6067580 h 6858001"/>
              <a:gd name="connsiteX121" fmla="*/ 10576267 w 12192001"/>
              <a:gd name="connsiteY121" fmla="*/ 6122395 h 6858001"/>
              <a:gd name="connsiteX122" fmla="*/ 11405568 w 12192001"/>
              <a:gd name="connsiteY122" fmla="*/ 6858001 h 6858001"/>
              <a:gd name="connsiteX123" fmla="*/ 10615100 w 12192001"/>
              <a:gd name="connsiteY123" fmla="*/ 6858001 h 6858001"/>
              <a:gd name="connsiteX124" fmla="*/ 9747387 w 12192001"/>
              <a:gd name="connsiteY124" fmla="*/ 6038406 h 6858001"/>
              <a:gd name="connsiteX125" fmla="*/ 9747387 w 12192001"/>
              <a:gd name="connsiteY125" fmla="*/ 6858001 h 6858001"/>
              <a:gd name="connsiteX126" fmla="*/ 9179190 w 12192001"/>
              <a:gd name="connsiteY126" fmla="*/ 6858001 h 6858001"/>
              <a:gd name="connsiteX127" fmla="*/ 347646 w 12192001"/>
              <a:gd name="connsiteY127" fmla="*/ 4268807 h 6858001"/>
              <a:gd name="connsiteX128" fmla="*/ 1621894 w 12192001"/>
              <a:gd name="connsiteY128" fmla="*/ 4268807 h 6858001"/>
              <a:gd name="connsiteX129" fmla="*/ 2079192 w 12192001"/>
              <a:gd name="connsiteY129" fmla="*/ 4312107 h 6858001"/>
              <a:gd name="connsiteX130" fmla="*/ 2446355 w 12192001"/>
              <a:gd name="connsiteY130" fmla="*/ 4435820 h 6858001"/>
              <a:gd name="connsiteX131" fmla="*/ 2726920 w 12192001"/>
              <a:gd name="connsiteY131" fmla="*/ 4630669 h 6858001"/>
              <a:gd name="connsiteX132" fmla="*/ 2923536 w 12192001"/>
              <a:gd name="connsiteY132" fmla="*/ 4888258 h 6858001"/>
              <a:gd name="connsiteX133" fmla="*/ 3039296 w 12192001"/>
              <a:gd name="connsiteY133" fmla="*/ 5199309 h 6858001"/>
              <a:gd name="connsiteX134" fmla="*/ 3077294 w 12192001"/>
              <a:gd name="connsiteY134" fmla="*/ 5554543 h 6858001"/>
              <a:gd name="connsiteX135" fmla="*/ 3038412 w 12192001"/>
              <a:gd name="connsiteY135" fmla="*/ 5908451 h 6858001"/>
              <a:gd name="connsiteX136" fmla="*/ 2920000 w 12192001"/>
              <a:gd name="connsiteY136" fmla="*/ 6227013 h 6858001"/>
              <a:gd name="connsiteX137" fmla="*/ 2718525 w 12192001"/>
              <a:gd name="connsiteY137" fmla="*/ 6497415 h 6858001"/>
              <a:gd name="connsiteX138" fmla="*/ 2430891 w 12192001"/>
              <a:gd name="connsiteY138" fmla="*/ 6706844 h 6858001"/>
              <a:gd name="connsiteX139" fmla="*/ 2054449 w 12192001"/>
              <a:gd name="connsiteY139" fmla="*/ 6842045 h 6858001"/>
              <a:gd name="connsiteX140" fmla="*/ 1955220 w 12192001"/>
              <a:gd name="connsiteY140" fmla="*/ 6858001 h 6858001"/>
              <a:gd name="connsiteX141" fmla="*/ 347646 w 12192001"/>
              <a:gd name="connsiteY141" fmla="*/ 6858001 h 6858001"/>
              <a:gd name="connsiteX142" fmla="*/ 8680151 w 12192001"/>
              <a:gd name="connsiteY142" fmla="*/ 852550 h 6858001"/>
              <a:gd name="connsiteX143" fmla="*/ 8477792 w 12192001"/>
              <a:gd name="connsiteY143" fmla="*/ 875084 h 6858001"/>
              <a:gd name="connsiteX144" fmla="*/ 8313871 w 12192001"/>
              <a:gd name="connsiteY144" fmla="*/ 944452 h 6858001"/>
              <a:gd name="connsiteX145" fmla="*/ 8195018 w 12192001"/>
              <a:gd name="connsiteY145" fmla="*/ 1062863 h 6858001"/>
              <a:gd name="connsiteX146" fmla="*/ 8126976 w 12192001"/>
              <a:gd name="connsiteY146" fmla="*/ 1232527 h 6858001"/>
              <a:gd name="connsiteX147" fmla="*/ 9237745 w 12192001"/>
              <a:gd name="connsiteY147" fmla="*/ 1232527 h 6858001"/>
              <a:gd name="connsiteX148" fmla="*/ 9169261 w 12192001"/>
              <a:gd name="connsiteY148" fmla="*/ 1062863 h 6858001"/>
              <a:gd name="connsiteX149" fmla="*/ 9049082 w 12192001"/>
              <a:gd name="connsiteY149" fmla="*/ 944452 h 6858001"/>
              <a:gd name="connsiteX150" fmla="*/ 8883395 w 12192001"/>
              <a:gd name="connsiteY150" fmla="*/ 875084 h 6858001"/>
              <a:gd name="connsiteX151" fmla="*/ 8680151 w 12192001"/>
              <a:gd name="connsiteY151" fmla="*/ 852550 h 6858001"/>
              <a:gd name="connsiteX152" fmla="*/ 4517728 w 12192001"/>
              <a:gd name="connsiteY152" fmla="*/ 852550 h 6858001"/>
              <a:gd name="connsiteX153" fmla="*/ 4315367 w 12192001"/>
              <a:gd name="connsiteY153" fmla="*/ 875084 h 6858001"/>
              <a:gd name="connsiteX154" fmla="*/ 4151447 w 12192001"/>
              <a:gd name="connsiteY154" fmla="*/ 944452 h 6858001"/>
              <a:gd name="connsiteX155" fmla="*/ 4032594 w 12192001"/>
              <a:gd name="connsiteY155" fmla="*/ 1062863 h 6858001"/>
              <a:gd name="connsiteX156" fmla="*/ 3964552 w 12192001"/>
              <a:gd name="connsiteY156" fmla="*/ 1232527 h 6858001"/>
              <a:gd name="connsiteX157" fmla="*/ 5075321 w 12192001"/>
              <a:gd name="connsiteY157" fmla="*/ 1232527 h 6858001"/>
              <a:gd name="connsiteX158" fmla="*/ 5006838 w 12192001"/>
              <a:gd name="connsiteY158" fmla="*/ 1062863 h 6858001"/>
              <a:gd name="connsiteX159" fmla="*/ 4886659 w 12192001"/>
              <a:gd name="connsiteY159" fmla="*/ 944452 h 6858001"/>
              <a:gd name="connsiteX160" fmla="*/ 4720972 w 12192001"/>
              <a:gd name="connsiteY160" fmla="*/ 875084 h 6858001"/>
              <a:gd name="connsiteX161" fmla="*/ 4517728 w 12192001"/>
              <a:gd name="connsiteY161" fmla="*/ 852550 h 6858001"/>
              <a:gd name="connsiteX162" fmla="*/ 2264041 w 12192001"/>
              <a:gd name="connsiteY162" fmla="*/ 508804 h 6858001"/>
              <a:gd name="connsiteX163" fmla="*/ 2832239 w 12192001"/>
              <a:gd name="connsiteY163" fmla="*/ 508804 h 6858001"/>
              <a:gd name="connsiteX164" fmla="*/ 2832239 w 12192001"/>
              <a:gd name="connsiteY164" fmla="*/ 2365388 h 6858001"/>
              <a:gd name="connsiteX165" fmla="*/ 2264041 w 12192001"/>
              <a:gd name="connsiteY165" fmla="*/ 2365388 h 6858001"/>
              <a:gd name="connsiteX166" fmla="*/ 11655254 w 12192001"/>
              <a:gd name="connsiteY166" fmla="*/ 450482 h 6858001"/>
              <a:gd name="connsiteX167" fmla="*/ 11896495 w 12192001"/>
              <a:gd name="connsiteY167" fmla="*/ 465504 h 6858001"/>
              <a:gd name="connsiteX168" fmla="*/ 12117853 w 12192001"/>
              <a:gd name="connsiteY168" fmla="*/ 516315 h 6858001"/>
              <a:gd name="connsiteX169" fmla="*/ 12192001 w 12192001"/>
              <a:gd name="connsiteY169" fmla="*/ 547588 h 6858001"/>
              <a:gd name="connsiteX170" fmla="*/ 12192001 w 12192001"/>
              <a:gd name="connsiteY170" fmla="*/ 2365388 h 6858001"/>
              <a:gd name="connsiteX171" fmla="*/ 12021092 w 12192001"/>
              <a:gd name="connsiteY171" fmla="*/ 2365388 h 6858001"/>
              <a:gd name="connsiteX172" fmla="*/ 12021092 w 12192001"/>
              <a:gd name="connsiteY172" fmla="*/ 1344753 h 6858001"/>
              <a:gd name="connsiteX173" fmla="*/ 11993698 w 12192001"/>
              <a:gd name="connsiteY173" fmla="*/ 1141951 h 6858001"/>
              <a:gd name="connsiteX174" fmla="*/ 11907540 w 12192001"/>
              <a:gd name="connsiteY174" fmla="*/ 998797 h 6858001"/>
              <a:gd name="connsiteX175" fmla="*/ 11756875 w 12192001"/>
              <a:gd name="connsiteY175" fmla="*/ 913523 h 6858001"/>
              <a:gd name="connsiteX176" fmla="*/ 11535958 w 12192001"/>
              <a:gd name="connsiteY176" fmla="*/ 885246 h 6858001"/>
              <a:gd name="connsiteX177" fmla="*/ 11345970 w 12192001"/>
              <a:gd name="connsiteY177" fmla="*/ 898059 h 6858001"/>
              <a:gd name="connsiteX178" fmla="*/ 11180724 w 12192001"/>
              <a:gd name="connsiteY178" fmla="*/ 932081 h 6858001"/>
              <a:gd name="connsiteX179" fmla="*/ 11036687 w 12192001"/>
              <a:gd name="connsiteY179" fmla="*/ 981566 h 6858001"/>
              <a:gd name="connsiteX180" fmla="*/ 10909439 w 12192001"/>
              <a:gd name="connsiteY180" fmla="*/ 1040772 h 6858001"/>
              <a:gd name="connsiteX181" fmla="*/ 10909439 w 12192001"/>
              <a:gd name="connsiteY181" fmla="*/ 2365388 h 6858001"/>
              <a:gd name="connsiteX182" fmla="*/ 10341241 w 12192001"/>
              <a:gd name="connsiteY182" fmla="*/ 2365388 h 6858001"/>
              <a:gd name="connsiteX183" fmla="*/ 10341241 w 12192001"/>
              <a:gd name="connsiteY183" fmla="*/ 508804 h 6858001"/>
              <a:gd name="connsiteX184" fmla="*/ 10837862 w 12192001"/>
              <a:gd name="connsiteY184" fmla="*/ 508804 h 6858001"/>
              <a:gd name="connsiteX185" fmla="*/ 10877627 w 12192001"/>
              <a:gd name="connsiteY185" fmla="*/ 721768 h 6858001"/>
              <a:gd name="connsiteX186" fmla="*/ 11034036 w 12192001"/>
              <a:gd name="connsiteY186" fmla="*/ 607775 h 6858001"/>
              <a:gd name="connsiteX187" fmla="*/ 11217838 w 12192001"/>
              <a:gd name="connsiteY187" fmla="*/ 522501 h 6858001"/>
              <a:gd name="connsiteX188" fmla="*/ 11425942 w 12192001"/>
              <a:gd name="connsiteY188" fmla="*/ 469039 h 6858001"/>
              <a:gd name="connsiteX189" fmla="*/ 11655254 w 12192001"/>
              <a:gd name="connsiteY189" fmla="*/ 450482 h 6858001"/>
              <a:gd name="connsiteX190" fmla="*/ 8680151 w 12192001"/>
              <a:gd name="connsiteY190" fmla="*/ 450482 h 6858001"/>
              <a:gd name="connsiteX191" fmla="*/ 9041129 w 12192001"/>
              <a:gd name="connsiteY191" fmla="*/ 484503 h 6858001"/>
              <a:gd name="connsiteX192" fmla="*/ 9330088 w 12192001"/>
              <a:gd name="connsiteY192" fmla="*/ 580381 h 6858001"/>
              <a:gd name="connsiteX193" fmla="*/ 9549238 w 12192001"/>
              <a:gd name="connsiteY193" fmla="*/ 729279 h 6858001"/>
              <a:gd name="connsiteX194" fmla="*/ 9702112 w 12192001"/>
              <a:gd name="connsiteY194" fmla="*/ 922802 h 6858001"/>
              <a:gd name="connsiteX195" fmla="*/ 9791804 w 12192001"/>
              <a:gd name="connsiteY195" fmla="*/ 1152556 h 6858001"/>
              <a:gd name="connsiteX196" fmla="*/ 9820966 w 12192001"/>
              <a:gd name="connsiteY196" fmla="*/ 1410144 h 6858001"/>
              <a:gd name="connsiteX197" fmla="*/ 9820082 w 12192001"/>
              <a:gd name="connsiteY197" fmla="*/ 1459188 h 6858001"/>
              <a:gd name="connsiteX198" fmla="*/ 9817873 w 12192001"/>
              <a:gd name="connsiteY198" fmla="*/ 1504697 h 6858001"/>
              <a:gd name="connsiteX199" fmla="*/ 9814338 w 12192001"/>
              <a:gd name="connsiteY199" fmla="*/ 1546229 h 6858001"/>
              <a:gd name="connsiteX200" fmla="*/ 9809478 w 12192001"/>
              <a:gd name="connsiteY200" fmla="*/ 1583343 h 6858001"/>
              <a:gd name="connsiteX201" fmla="*/ 8119023 w 12192001"/>
              <a:gd name="connsiteY201" fmla="*/ 1583343 h 6858001"/>
              <a:gd name="connsiteX202" fmla="*/ 8173368 w 12192001"/>
              <a:gd name="connsiteY202" fmla="*/ 1752123 h 6858001"/>
              <a:gd name="connsiteX203" fmla="*/ 8298407 w 12192001"/>
              <a:gd name="connsiteY203" fmla="*/ 1879813 h 6858001"/>
              <a:gd name="connsiteX204" fmla="*/ 8501651 w 12192001"/>
              <a:gd name="connsiteY204" fmla="*/ 1960669 h 6858001"/>
              <a:gd name="connsiteX205" fmla="*/ 8792377 w 12192001"/>
              <a:gd name="connsiteY205" fmla="*/ 1988946 h 6858001"/>
              <a:gd name="connsiteX206" fmla="*/ 9034502 w 12192001"/>
              <a:gd name="connsiteY206" fmla="*/ 1977900 h 6858001"/>
              <a:gd name="connsiteX207" fmla="*/ 9265581 w 12192001"/>
              <a:gd name="connsiteY207" fmla="*/ 1946972 h 6858001"/>
              <a:gd name="connsiteX208" fmla="*/ 9475010 w 12192001"/>
              <a:gd name="connsiteY208" fmla="*/ 1900138 h 6858001"/>
              <a:gd name="connsiteX209" fmla="*/ 9653952 w 12192001"/>
              <a:gd name="connsiteY209" fmla="*/ 1840490 h 6858001"/>
              <a:gd name="connsiteX210" fmla="*/ 9653952 w 12192001"/>
              <a:gd name="connsiteY210" fmla="*/ 2246093 h 6858001"/>
              <a:gd name="connsiteX211" fmla="*/ 9466615 w 12192001"/>
              <a:gd name="connsiteY211" fmla="*/ 2317670 h 6858001"/>
              <a:gd name="connsiteX212" fmla="*/ 9238187 w 12192001"/>
              <a:gd name="connsiteY212" fmla="*/ 2372016 h 6858001"/>
              <a:gd name="connsiteX213" fmla="*/ 8985900 w 12192001"/>
              <a:gd name="connsiteY213" fmla="*/ 2406920 h 6858001"/>
              <a:gd name="connsiteX214" fmla="*/ 8727869 w 12192001"/>
              <a:gd name="connsiteY214" fmla="*/ 2419292 h 6858001"/>
              <a:gd name="connsiteX215" fmla="*/ 8363799 w 12192001"/>
              <a:gd name="connsiteY215" fmla="*/ 2385713 h 6858001"/>
              <a:gd name="connsiteX216" fmla="*/ 8066887 w 12192001"/>
              <a:gd name="connsiteY216" fmla="*/ 2290718 h 6858001"/>
              <a:gd name="connsiteX217" fmla="*/ 7837133 w 12192001"/>
              <a:gd name="connsiteY217" fmla="*/ 2141821 h 6858001"/>
              <a:gd name="connsiteX218" fmla="*/ 7673655 w 12192001"/>
              <a:gd name="connsiteY218" fmla="*/ 1946088 h 6858001"/>
              <a:gd name="connsiteX219" fmla="*/ 7576010 w 12192001"/>
              <a:gd name="connsiteY219" fmla="*/ 1711917 h 6858001"/>
              <a:gd name="connsiteX220" fmla="*/ 7543756 w 12192001"/>
              <a:gd name="connsiteY220" fmla="*/ 1446375 h 6858001"/>
              <a:gd name="connsiteX221" fmla="*/ 7573359 w 12192001"/>
              <a:gd name="connsiteY221" fmla="*/ 1190553 h 6858001"/>
              <a:gd name="connsiteX222" fmla="*/ 7663934 w 12192001"/>
              <a:gd name="connsiteY222" fmla="*/ 955056 h 6858001"/>
              <a:gd name="connsiteX223" fmla="*/ 7817692 w 12192001"/>
              <a:gd name="connsiteY223" fmla="*/ 751812 h 6858001"/>
              <a:gd name="connsiteX224" fmla="*/ 8036400 w 12192001"/>
              <a:gd name="connsiteY224" fmla="*/ 591869 h 6858001"/>
              <a:gd name="connsiteX225" fmla="*/ 8323150 w 12192001"/>
              <a:gd name="connsiteY225" fmla="*/ 487596 h 6858001"/>
              <a:gd name="connsiteX226" fmla="*/ 8680151 w 12192001"/>
              <a:gd name="connsiteY226" fmla="*/ 450482 h 6858001"/>
              <a:gd name="connsiteX227" fmla="*/ 4517728 w 12192001"/>
              <a:gd name="connsiteY227" fmla="*/ 450482 h 6858001"/>
              <a:gd name="connsiteX228" fmla="*/ 4878705 w 12192001"/>
              <a:gd name="connsiteY228" fmla="*/ 484503 h 6858001"/>
              <a:gd name="connsiteX229" fmla="*/ 5167664 w 12192001"/>
              <a:gd name="connsiteY229" fmla="*/ 580381 h 6858001"/>
              <a:gd name="connsiteX230" fmla="*/ 5386814 w 12192001"/>
              <a:gd name="connsiteY230" fmla="*/ 729279 h 6858001"/>
              <a:gd name="connsiteX231" fmla="*/ 5539687 w 12192001"/>
              <a:gd name="connsiteY231" fmla="*/ 922802 h 6858001"/>
              <a:gd name="connsiteX232" fmla="*/ 5629379 w 12192001"/>
              <a:gd name="connsiteY232" fmla="*/ 1152556 h 6858001"/>
              <a:gd name="connsiteX233" fmla="*/ 5658540 w 12192001"/>
              <a:gd name="connsiteY233" fmla="*/ 1410144 h 6858001"/>
              <a:gd name="connsiteX234" fmla="*/ 5657657 w 12192001"/>
              <a:gd name="connsiteY234" fmla="*/ 1459188 h 6858001"/>
              <a:gd name="connsiteX235" fmla="*/ 5655449 w 12192001"/>
              <a:gd name="connsiteY235" fmla="*/ 1504697 h 6858001"/>
              <a:gd name="connsiteX236" fmla="*/ 5651914 w 12192001"/>
              <a:gd name="connsiteY236" fmla="*/ 1546229 h 6858001"/>
              <a:gd name="connsiteX237" fmla="*/ 5647052 w 12192001"/>
              <a:gd name="connsiteY237" fmla="*/ 1583343 h 6858001"/>
              <a:gd name="connsiteX238" fmla="*/ 3956599 w 12192001"/>
              <a:gd name="connsiteY238" fmla="*/ 1583343 h 6858001"/>
              <a:gd name="connsiteX239" fmla="*/ 4010944 w 12192001"/>
              <a:gd name="connsiteY239" fmla="*/ 1752123 h 6858001"/>
              <a:gd name="connsiteX240" fmla="*/ 4135983 w 12192001"/>
              <a:gd name="connsiteY240" fmla="*/ 1879813 h 6858001"/>
              <a:gd name="connsiteX241" fmla="*/ 4339226 w 12192001"/>
              <a:gd name="connsiteY241" fmla="*/ 1960669 h 6858001"/>
              <a:gd name="connsiteX242" fmla="*/ 4629955 w 12192001"/>
              <a:gd name="connsiteY242" fmla="*/ 1988946 h 6858001"/>
              <a:gd name="connsiteX243" fmla="*/ 4872079 w 12192001"/>
              <a:gd name="connsiteY243" fmla="*/ 1977900 h 6858001"/>
              <a:gd name="connsiteX244" fmla="*/ 5103157 w 12192001"/>
              <a:gd name="connsiteY244" fmla="*/ 1946972 h 6858001"/>
              <a:gd name="connsiteX245" fmla="*/ 5312586 w 12192001"/>
              <a:gd name="connsiteY245" fmla="*/ 1900138 h 6858001"/>
              <a:gd name="connsiteX246" fmla="*/ 5491527 w 12192001"/>
              <a:gd name="connsiteY246" fmla="*/ 1840490 h 6858001"/>
              <a:gd name="connsiteX247" fmla="*/ 5491527 w 12192001"/>
              <a:gd name="connsiteY247" fmla="*/ 2246093 h 6858001"/>
              <a:gd name="connsiteX248" fmla="*/ 5304192 w 12192001"/>
              <a:gd name="connsiteY248" fmla="*/ 2317670 h 6858001"/>
              <a:gd name="connsiteX249" fmla="*/ 5075763 w 12192001"/>
              <a:gd name="connsiteY249" fmla="*/ 2372016 h 6858001"/>
              <a:gd name="connsiteX250" fmla="*/ 4823476 w 12192001"/>
              <a:gd name="connsiteY250" fmla="*/ 2406920 h 6858001"/>
              <a:gd name="connsiteX251" fmla="*/ 4565446 w 12192001"/>
              <a:gd name="connsiteY251" fmla="*/ 2419292 h 6858001"/>
              <a:gd name="connsiteX252" fmla="*/ 4201376 w 12192001"/>
              <a:gd name="connsiteY252" fmla="*/ 2385713 h 6858001"/>
              <a:gd name="connsiteX253" fmla="*/ 3904463 w 12192001"/>
              <a:gd name="connsiteY253" fmla="*/ 2290718 h 6858001"/>
              <a:gd name="connsiteX254" fmla="*/ 3674709 w 12192001"/>
              <a:gd name="connsiteY254" fmla="*/ 2141821 h 6858001"/>
              <a:gd name="connsiteX255" fmla="*/ 3511230 w 12192001"/>
              <a:gd name="connsiteY255" fmla="*/ 1946088 h 6858001"/>
              <a:gd name="connsiteX256" fmla="*/ 3413585 w 12192001"/>
              <a:gd name="connsiteY256" fmla="*/ 1711917 h 6858001"/>
              <a:gd name="connsiteX257" fmla="*/ 3381331 w 12192001"/>
              <a:gd name="connsiteY257" fmla="*/ 1446375 h 6858001"/>
              <a:gd name="connsiteX258" fmla="*/ 3410934 w 12192001"/>
              <a:gd name="connsiteY258" fmla="*/ 1190553 h 6858001"/>
              <a:gd name="connsiteX259" fmla="*/ 3501510 w 12192001"/>
              <a:gd name="connsiteY259" fmla="*/ 955056 h 6858001"/>
              <a:gd name="connsiteX260" fmla="*/ 3655268 w 12192001"/>
              <a:gd name="connsiteY260" fmla="*/ 751812 h 6858001"/>
              <a:gd name="connsiteX261" fmla="*/ 3873976 w 12192001"/>
              <a:gd name="connsiteY261" fmla="*/ 591869 h 6858001"/>
              <a:gd name="connsiteX262" fmla="*/ 4160726 w 12192001"/>
              <a:gd name="connsiteY262" fmla="*/ 487596 h 6858001"/>
              <a:gd name="connsiteX263" fmla="*/ 4517728 w 12192001"/>
              <a:gd name="connsiteY263" fmla="*/ 450482 h 6858001"/>
              <a:gd name="connsiteX264" fmla="*/ 6157609 w 12192001"/>
              <a:gd name="connsiteY264" fmla="*/ 0 h 6858001"/>
              <a:gd name="connsiteX265" fmla="*/ 6725806 w 12192001"/>
              <a:gd name="connsiteY265" fmla="*/ 0 h 6858001"/>
              <a:gd name="connsiteX266" fmla="*/ 6725806 w 12192001"/>
              <a:gd name="connsiteY266" fmla="*/ 1760960 h 6858001"/>
              <a:gd name="connsiteX267" fmla="*/ 6734642 w 12192001"/>
              <a:gd name="connsiteY267" fmla="*/ 1849327 h 6858001"/>
              <a:gd name="connsiteX268" fmla="*/ 6771756 w 12192001"/>
              <a:gd name="connsiteY268" fmla="*/ 1916927 h 6858001"/>
              <a:gd name="connsiteX269" fmla="*/ 6852612 w 12192001"/>
              <a:gd name="connsiteY269" fmla="*/ 1959785 h 6858001"/>
              <a:gd name="connsiteX270" fmla="*/ 6993557 w 12192001"/>
              <a:gd name="connsiteY270" fmla="*/ 1974808 h 6858001"/>
              <a:gd name="connsiteX271" fmla="*/ 7148198 w 12192001"/>
              <a:gd name="connsiteY271" fmla="*/ 1962878 h 6858001"/>
              <a:gd name="connsiteX272" fmla="*/ 7286935 w 12192001"/>
              <a:gd name="connsiteY272" fmla="*/ 1935043 h 6858001"/>
              <a:gd name="connsiteX273" fmla="*/ 7286935 w 12192001"/>
              <a:gd name="connsiteY273" fmla="*/ 2332693 h 6858001"/>
              <a:gd name="connsiteX274" fmla="*/ 7183987 w 12192001"/>
              <a:gd name="connsiteY274" fmla="*/ 2364947 h 6858001"/>
              <a:gd name="connsiteX275" fmla="*/ 7064249 w 12192001"/>
              <a:gd name="connsiteY275" fmla="*/ 2390131 h 6858001"/>
              <a:gd name="connsiteX276" fmla="*/ 6935235 w 12192001"/>
              <a:gd name="connsiteY276" fmla="*/ 2406479 h 6858001"/>
              <a:gd name="connsiteX277" fmla="*/ 6805336 w 12192001"/>
              <a:gd name="connsiteY277" fmla="*/ 2412223 h 6858001"/>
              <a:gd name="connsiteX278" fmla="*/ 6505773 w 12192001"/>
              <a:gd name="connsiteY278" fmla="*/ 2373342 h 6858001"/>
              <a:gd name="connsiteX279" fmla="*/ 6305180 w 12192001"/>
              <a:gd name="connsiteY279" fmla="*/ 2260674 h 6858001"/>
              <a:gd name="connsiteX280" fmla="*/ 6192514 w 12192001"/>
              <a:gd name="connsiteY280" fmla="*/ 2079964 h 6858001"/>
              <a:gd name="connsiteX281" fmla="*/ 6157609 w 12192001"/>
              <a:gd name="connsiteY281" fmla="*/ 1836955 h 6858001"/>
              <a:gd name="connsiteX282" fmla="*/ 2264041 w 12192001"/>
              <a:gd name="connsiteY282" fmla="*/ 0 h 6858001"/>
              <a:gd name="connsiteX283" fmla="*/ 2832239 w 12192001"/>
              <a:gd name="connsiteY283" fmla="*/ 0 h 6858001"/>
              <a:gd name="connsiteX284" fmla="*/ 2832239 w 12192001"/>
              <a:gd name="connsiteY284" fmla="*/ 237518 h 6858001"/>
              <a:gd name="connsiteX285" fmla="*/ 2264041 w 12192001"/>
              <a:gd name="connsiteY285" fmla="*/ 237518 h 6858001"/>
              <a:gd name="connsiteX286" fmla="*/ 1165266 w 12192001"/>
              <a:gd name="connsiteY286" fmla="*/ 0 h 6858001"/>
              <a:gd name="connsiteX287" fmla="*/ 1795460 w 12192001"/>
              <a:gd name="connsiteY287" fmla="*/ 0 h 6858001"/>
              <a:gd name="connsiteX288" fmla="*/ 599681 w 12192001"/>
              <a:gd name="connsiteY288" fmla="*/ 2365388 h 6858001"/>
              <a:gd name="connsiteX289" fmla="*/ 0 w 12192001"/>
              <a:gd name="connsiteY289" fmla="*/ 2365388 h 6858001"/>
              <a:gd name="connsiteX290" fmla="*/ 0 w 12192001"/>
              <a:gd name="connsiteY290" fmla="*/ 1139294 h 6858001"/>
              <a:gd name="connsiteX291" fmla="*/ 176267 w 12192001"/>
              <a:gd name="connsiteY291" fmla="*/ 1507348 h 6858001"/>
              <a:gd name="connsiteX292" fmla="*/ 243011 w 12192001"/>
              <a:gd name="connsiteY292" fmla="*/ 1648734 h 6858001"/>
              <a:gd name="connsiteX293" fmla="*/ 309756 w 12192001"/>
              <a:gd name="connsiteY293" fmla="*/ 1790121 h 6858001"/>
              <a:gd name="connsiteX294" fmla="*/ 376942 w 12192001"/>
              <a:gd name="connsiteY294" fmla="*/ 1648734 h 6858001"/>
              <a:gd name="connsiteX295" fmla="*/ 444128 w 12192001"/>
              <a:gd name="connsiteY295" fmla="*/ 150734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</a:cxnLst>
            <a:rect l="l" t="t" r="r" b="b"/>
            <a:pathLst>
              <a:path w="12192001" h="6858001">
                <a:moveTo>
                  <a:pt x="11850404" y="6343657"/>
                </a:moveTo>
                <a:lnTo>
                  <a:pt x="12192001" y="6343657"/>
                </a:lnTo>
                <a:lnTo>
                  <a:pt x="12192001" y="6858001"/>
                </a:lnTo>
                <a:lnTo>
                  <a:pt x="11850404" y="6858001"/>
                </a:lnTo>
                <a:close/>
                <a:moveTo>
                  <a:pt x="4760848" y="6104184"/>
                </a:moveTo>
                <a:cubicBezTo>
                  <a:pt x="4637722" y="6104184"/>
                  <a:pt x="4532272" y="6108454"/>
                  <a:pt x="4444496" y="6116997"/>
                </a:cubicBezTo>
                <a:cubicBezTo>
                  <a:pt x="4356716" y="6125539"/>
                  <a:pt x="4284844" y="6139530"/>
                  <a:pt x="4228881" y="6158971"/>
                </a:cubicBezTo>
                <a:cubicBezTo>
                  <a:pt x="4172914" y="6178412"/>
                  <a:pt x="4131823" y="6203596"/>
                  <a:pt x="4105608" y="6234524"/>
                </a:cubicBezTo>
                <a:cubicBezTo>
                  <a:pt x="4079392" y="6265453"/>
                  <a:pt x="4066285" y="6303009"/>
                  <a:pt x="4066285" y="6347192"/>
                </a:cubicBezTo>
                <a:cubicBezTo>
                  <a:pt x="4066285" y="6377237"/>
                  <a:pt x="4073060" y="6405808"/>
                  <a:pt x="4086609" y="6432908"/>
                </a:cubicBezTo>
                <a:cubicBezTo>
                  <a:pt x="4100158" y="6460007"/>
                  <a:pt x="4121514" y="6483866"/>
                  <a:pt x="4150675" y="6504485"/>
                </a:cubicBezTo>
                <a:cubicBezTo>
                  <a:pt x="4179836" y="6525103"/>
                  <a:pt x="4217393" y="6541451"/>
                  <a:pt x="4263343" y="6553528"/>
                </a:cubicBezTo>
                <a:cubicBezTo>
                  <a:pt x="4309295" y="6565605"/>
                  <a:pt x="4364376" y="6571643"/>
                  <a:pt x="4428590" y="6571643"/>
                </a:cubicBezTo>
                <a:cubicBezTo>
                  <a:pt x="4498104" y="6571643"/>
                  <a:pt x="4562464" y="6567519"/>
                  <a:pt x="4621669" y="6559272"/>
                </a:cubicBezTo>
                <a:cubicBezTo>
                  <a:pt x="4680875" y="6551024"/>
                  <a:pt x="4735957" y="6539537"/>
                  <a:pt x="4786917" y="6524809"/>
                </a:cubicBezTo>
                <a:cubicBezTo>
                  <a:pt x="4837873" y="6510081"/>
                  <a:pt x="4885002" y="6492555"/>
                  <a:pt x="4928302" y="6472231"/>
                </a:cubicBezTo>
                <a:cubicBezTo>
                  <a:pt x="4971601" y="6451907"/>
                  <a:pt x="5012398" y="6429373"/>
                  <a:pt x="5050690" y="6404630"/>
                </a:cubicBezTo>
                <a:lnTo>
                  <a:pt x="5050690" y="6104184"/>
                </a:lnTo>
                <a:close/>
                <a:moveTo>
                  <a:pt x="7588077" y="4974857"/>
                </a:moveTo>
                <a:cubicBezTo>
                  <a:pt x="7670553" y="4974857"/>
                  <a:pt x="7750966" y="4979864"/>
                  <a:pt x="7829318" y="4989879"/>
                </a:cubicBezTo>
                <a:cubicBezTo>
                  <a:pt x="7907669" y="4999895"/>
                  <a:pt x="7981456" y="5016831"/>
                  <a:pt x="8050677" y="5040690"/>
                </a:cubicBezTo>
                <a:cubicBezTo>
                  <a:pt x="8119897" y="5064549"/>
                  <a:pt x="8183374" y="5096656"/>
                  <a:pt x="8241107" y="5137010"/>
                </a:cubicBezTo>
                <a:cubicBezTo>
                  <a:pt x="8298840" y="5177364"/>
                  <a:pt x="8348473" y="5228028"/>
                  <a:pt x="8390005" y="5289001"/>
                </a:cubicBezTo>
                <a:cubicBezTo>
                  <a:pt x="8431538" y="5349974"/>
                  <a:pt x="8463938" y="5422287"/>
                  <a:pt x="8487209" y="5505941"/>
                </a:cubicBezTo>
                <a:cubicBezTo>
                  <a:pt x="8510478" y="5589595"/>
                  <a:pt x="8522113" y="5686503"/>
                  <a:pt x="8522113" y="5796667"/>
                </a:cubicBezTo>
                <a:lnTo>
                  <a:pt x="8522113" y="6858001"/>
                </a:lnTo>
                <a:lnTo>
                  <a:pt x="7953916" y="6858001"/>
                </a:lnTo>
                <a:lnTo>
                  <a:pt x="7953916" y="5869128"/>
                </a:lnTo>
                <a:cubicBezTo>
                  <a:pt x="7953916" y="5791365"/>
                  <a:pt x="7944784" y="5723765"/>
                  <a:pt x="7926522" y="5666327"/>
                </a:cubicBezTo>
                <a:cubicBezTo>
                  <a:pt x="7908259" y="5608888"/>
                  <a:pt x="7879540" y="5561170"/>
                  <a:pt x="7840364" y="5523173"/>
                </a:cubicBezTo>
                <a:cubicBezTo>
                  <a:pt x="7801188" y="5485175"/>
                  <a:pt x="7750966" y="5456750"/>
                  <a:pt x="7689699" y="5437899"/>
                </a:cubicBezTo>
                <a:cubicBezTo>
                  <a:pt x="7628431" y="5419047"/>
                  <a:pt x="7554792" y="5409621"/>
                  <a:pt x="7468782" y="5409621"/>
                </a:cubicBezTo>
                <a:cubicBezTo>
                  <a:pt x="7401034" y="5409621"/>
                  <a:pt x="7337704" y="5413893"/>
                  <a:pt x="7278795" y="5422434"/>
                </a:cubicBezTo>
                <a:cubicBezTo>
                  <a:pt x="7219883" y="5430976"/>
                  <a:pt x="7164802" y="5442317"/>
                  <a:pt x="7113550" y="5456456"/>
                </a:cubicBezTo>
                <a:cubicBezTo>
                  <a:pt x="7062296" y="5470594"/>
                  <a:pt x="7014283" y="5487089"/>
                  <a:pt x="6969511" y="5505941"/>
                </a:cubicBezTo>
                <a:cubicBezTo>
                  <a:pt x="6924739" y="5524793"/>
                  <a:pt x="6882323" y="5544528"/>
                  <a:pt x="6842263" y="5565147"/>
                </a:cubicBezTo>
                <a:lnTo>
                  <a:pt x="6842263" y="6858001"/>
                </a:lnTo>
                <a:lnTo>
                  <a:pt x="6274065" y="6858001"/>
                </a:lnTo>
                <a:lnTo>
                  <a:pt x="6274065" y="5033179"/>
                </a:lnTo>
                <a:lnTo>
                  <a:pt x="6770686" y="5033179"/>
                </a:lnTo>
                <a:lnTo>
                  <a:pt x="6810451" y="5246143"/>
                </a:lnTo>
                <a:cubicBezTo>
                  <a:pt x="6857581" y="5203727"/>
                  <a:pt x="6909716" y="5165729"/>
                  <a:pt x="6966860" y="5132150"/>
                </a:cubicBezTo>
                <a:cubicBezTo>
                  <a:pt x="7024004" y="5098571"/>
                  <a:pt x="7085272" y="5070146"/>
                  <a:pt x="7150664" y="5046876"/>
                </a:cubicBezTo>
                <a:cubicBezTo>
                  <a:pt x="7216054" y="5023606"/>
                  <a:pt x="7285422" y="5005785"/>
                  <a:pt x="7358766" y="4993414"/>
                </a:cubicBezTo>
                <a:cubicBezTo>
                  <a:pt x="7432110" y="4981043"/>
                  <a:pt x="7508547" y="4974857"/>
                  <a:pt x="7588077" y="4974857"/>
                </a:cubicBezTo>
                <a:close/>
                <a:moveTo>
                  <a:pt x="4529326" y="4974857"/>
                </a:moveTo>
                <a:cubicBezTo>
                  <a:pt x="4700168" y="4974857"/>
                  <a:pt x="4852306" y="4988996"/>
                  <a:pt x="4985741" y="5017273"/>
                </a:cubicBezTo>
                <a:cubicBezTo>
                  <a:pt x="5119174" y="5045550"/>
                  <a:pt x="5231694" y="5090323"/>
                  <a:pt x="5323302" y="5151591"/>
                </a:cubicBezTo>
                <a:cubicBezTo>
                  <a:pt x="5414908" y="5212858"/>
                  <a:pt x="5484718" y="5291799"/>
                  <a:pt x="5532730" y="5388413"/>
                </a:cubicBezTo>
                <a:cubicBezTo>
                  <a:pt x="5580743" y="5485028"/>
                  <a:pt x="5604748" y="5601672"/>
                  <a:pt x="5604748" y="5738345"/>
                </a:cubicBezTo>
                <a:lnTo>
                  <a:pt x="5604748" y="6858001"/>
                </a:lnTo>
                <a:lnTo>
                  <a:pt x="5109968" y="6858001"/>
                </a:lnTo>
                <a:lnTo>
                  <a:pt x="5079851" y="6701542"/>
                </a:lnTo>
                <a:cubicBezTo>
                  <a:pt x="5033901" y="6740424"/>
                  <a:pt x="4982647" y="6775181"/>
                  <a:pt x="4926093" y="6805815"/>
                </a:cubicBezTo>
                <a:lnTo>
                  <a:pt x="4802339" y="6858001"/>
                </a:lnTo>
                <a:lnTo>
                  <a:pt x="3808692" y="6858001"/>
                </a:lnTo>
                <a:lnTo>
                  <a:pt x="3702214" y="6798304"/>
                </a:lnTo>
                <a:cubicBezTo>
                  <a:pt x="3632699" y="6749113"/>
                  <a:pt x="3579531" y="6688435"/>
                  <a:pt x="3542712" y="6616269"/>
                </a:cubicBezTo>
                <a:cubicBezTo>
                  <a:pt x="3505893" y="6544102"/>
                  <a:pt x="3487483" y="6461479"/>
                  <a:pt x="3487483" y="6368400"/>
                </a:cubicBezTo>
                <a:cubicBezTo>
                  <a:pt x="3487483" y="6291226"/>
                  <a:pt x="3500885" y="6222889"/>
                  <a:pt x="3527690" y="6163389"/>
                </a:cubicBezTo>
                <a:cubicBezTo>
                  <a:pt x="3554495" y="6103889"/>
                  <a:pt x="3592786" y="6052047"/>
                  <a:pt x="3642566" y="6007864"/>
                </a:cubicBezTo>
                <a:cubicBezTo>
                  <a:pt x="3692346" y="5963680"/>
                  <a:pt x="3752583" y="5926419"/>
                  <a:pt x="3823277" y="5896080"/>
                </a:cubicBezTo>
                <a:cubicBezTo>
                  <a:pt x="3893970" y="5865741"/>
                  <a:pt x="3973205" y="5841293"/>
                  <a:pt x="4060983" y="5822736"/>
                </a:cubicBezTo>
                <a:cubicBezTo>
                  <a:pt x="4148760" y="5804179"/>
                  <a:pt x="4244198" y="5790924"/>
                  <a:pt x="4347292" y="5782971"/>
                </a:cubicBezTo>
                <a:cubicBezTo>
                  <a:pt x="4450386" y="5775018"/>
                  <a:pt x="4559372" y="5771041"/>
                  <a:pt x="4674250" y="5771041"/>
                </a:cubicBezTo>
                <a:cubicBezTo>
                  <a:pt x="4721378" y="5771041"/>
                  <a:pt x="4767475" y="5771630"/>
                  <a:pt x="4812542" y="5772808"/>
                </a:cubicBezTo>
                <a:cubicBezTo>
                  <a:pt x="4857608" y="5773986"/>
                  <a:pt x="4899290" y="5775459"/>
                  <a:pt x="4937582" y="5777227"/>
                </a:cubicBezTo>
                <a:cubicBezTo>
                  <a:pt x="4975871" y="5778994"/>
                  <a:pt x="5013576" y="5780761"/>
                  <a:pt x="5050690" y="5782529"/>
                </a:cubicBezTo>
                <a:lnTo>
                  <a:pt x="5050690" y="5778994"/>
                </a:lnTo>
                <a:cubicBezTo>
                  <a:pt x="5050690" y="5713603"/>
                  <a:pt x="5038318" y="5657490"/>
                  <a:pt x="5013576" y="5610656"/>
                </a:cubicBezTo>
                <a:cubicBezTo>
                  <a:pt x="4988832" y="5563821"/>
                  <a:pt x="4952161" y="5525235"/>
                  <a:pt x="4903559" y="5494895"/>
                </a:cubicBezTo>
                <a:cubicBezTo>
                  <a:pt x="4854957" y="5464556"/>
                  <a:pt x="4794574" y="5442170"/>
                  <a:pt x="4722410" y="5427736"/>
                </a:cubicBezTo>
                <a:cubicBezTo>
                  <a:pt x="4650243" y="5413303"/>
                  <a:pt x="4566735" y="5406087"/>
                  <a:pt x="4471889" y="5406087"/>
                </a:cubicBezTo>
                <a:cubicBezTo>
                  <a:pt x="4392947" y="5406087"/>
                  <a:pt x="4317541" y="5409916"/>
                  <a:pt x="4245671" y="5417574"/>
                </a:cubicBezTo>
                <a:cubicBezTo>
                  <a:pt x="4173797" y="5425233"/>
                  <a:pt x="4105018" y="5435837"/>
                  <a:pt x="4039333" y="5449386"/>
                </a:cubicBezTo>
                <a:cubicBezTo>
                  <a:pt x="3973647" y="5462936"/>
                  <a:pt x="3911201" y="5478989"/>
                  <a:pt x="3851995" y="5497546"/>
                </a:cubicBezTo>
                <a:cubicBezTo>
                  <a:pt x="3792790" y="5516103"/>
                  <a:pt x="3736382" y="5536280"/>
                  <a:pt x="3682773" y="5558077"/>
                </a:cubicBezTo>
                <a:lnTo>
                  <a:pt x="3682773" y="5152474"/>
                </a:lnTo>
                <a:cubicBezTo>
                  <a:pt x="3735204" y="5125964"/>
                  <a:pt x="3792937" y="5101810"/>
                  <a:pt x="3855972" y="5080014"/>
                </a:cubicBezTo>
                <a:cubicBezTo>
                  <a:pt x="3919007" y="5058217"/>
                  <a:pt x="3986460" y="5039512"/>
                  <a:pt x="4058332" y="5023901"/>
                </a:cubicBezTo>
                <a:cubicBezTo>
                  <a:pt x="4130203" y="5008289"/>
                  <a:pt x="4205611" y="4996212"/>
                  <a:pt x="4284553" y="4987670"/>
                </a:cubicBezTo>
                <a:cubicBezTo>
                  <a:pt x="4363493" y="4979128"/>
                  <a:pt x="4445084" y="4974857"/>
                  <a:pt x="4529326" y="4974857"/>
                </a:cubicBezTo>
                <a:close/>
                <a:moveTo>
                  <a:pt x="927332" y="4696502"/>
                </a:moveTo>
                <a:lnTo>
                  <a:pt x="927332" y="6462069"/>
                </a:lnTo>
                <a:lnTo>
                  <a:pt x="1502599" y="6462069"/>
                </a:lnTo>
                <a:cubicBezTo>
                  <a:pt x="1626312" y="6462069"/>
                  <a:pt x="1736476" y="6452353"/>
                  <a:pt x="1833091" y="6432921"/>
                </a:cubicBezTo>
                <a:cubicBezTo>
                  <a:pt x="1929704" y="6413490"/>
                  <a:pt x="2014242" y="6385521"/>
                  <a:pt x="2086703" y="6349015"/>
                </a:cubicBezTo>
                <a:cubicBezTo>
                  <a:pt x="2159163" y="6312508"/>
                  <a:pt x="2220725" y="6268200"/>
                  <a:pt x="2271390" y="6216091"/>
                </a:cubicBezTo>
                <a:cubicBezTo>
                  <a:pt x="2322053" y="6163983"/>
                  <a:pt x="2362996" y="6105102"/>
                  <a:pt x="2394219" y="6039448"/>
                </a:cubicBezTo>
                <a:cubicBezTo>
                  <a:pt x="2425442" y="5973794"/>
                  <a:pt x="2448123" y="5902399"/>
                  <a:pt x="2462261" y="5825262"/>
                </a:cubicBezTo>
                <a:cubicBezTo>
                  <a:pt x="2476400" y="5748126"/>
                  <a:pt x="2483469" y="5665986"/>
                  <a:pt x="2483469" y="5578844"/>
                </a:cubicBezTo>
                <a:cubicBezTo>
                  <a:pt x="2483469" y="5491701"/>
                  <a:pt x="2476400" y="5409561"/>
                  <a:pt x="2462261" y="5332425"/>
                </a:cubicBezTo>
                <a:cubicBezTo>
                  <a:pt x="2448123" y="5255288"/>
                  <a:pt x="2425442" y="5184040"/>
                  <a:pt x="2394219" y="5118681"/>
                </a:cubicBezTo>
                <a:cubicBezTo>
                  <a:pt x="2362996" y="5053322"/>
                  <a:pt x="2322053" y="4994588"/>
                  <a:pt x="2271390" y="4942479"/>
                </a:cubicBezTo>
                <a:cubicBezTo>
                  <a:pt x="2220725" y="4890370"/>
                  <a:pt x="2159163" y="4846063"/>
                  <a:pt x="2086703" y="4809556"/>
                </a:cubicBezTo>
                <a:cubicBezTo>
                  <a:pt x="2014242" y="4773050"/>
                  <a:pt x="1929704" y="4745081"/>
                  <a:pt x="1833091" y="4725649"/>
                </a:cubicBezTo>
                <a:cubicBezTo>
                  <a:pt x="1736476" y="4706218"/>
                  <a:pt x="1626312" y="4696502"/>
                  <a:pt x="1502599" y="4696502"/>
                </a:cubicBezTo>
                <a:close/>
                <a:moveTo>
                  <a:pt x="11857474" y="4268807"/>
                </a:moveTo>
                <a:lnTo>
                  <a:pt x="12192001" y="4268807"/>
                </a:lnTo>
                <a:lnTo>
                  <a:pt x="12192001" y="6064419"/>
                </a:lnTo>
                <a:lnTo>
                  <a:pt x="11976769" y="6064419"/>
                </a:lnTo>
                <a:lnTo>
                  <a:pt x="11921981" y="5724207"/>
                </a:lnTo>
                <a:cubicBezTo>
                  <a:pt x="11917268" y="5695340"/>
                  <a:pt x="11912408" y="5661025"/>
                  <a:pt x="11907401" y="5621260"/>
                </a:cubicBezTo>
                <a:cubicBezTo>
                  <a:pt x="11902393" y="5581495"/>
                  <a:pt x="11897533" y="5538637"/>
                  <a:pt x="11892820" y="5492686"/>
                </a:cubicBezTo>
                <a:cubicBezTo>
                  <a:pt x="11888107" y="5446735"/>
                  <a:pt x="11883541" y="5398723"/>
                  <a:pt x="11879124" y="5348648"/>
                </a:cubicBezTo>
                <a:cubicBezTo>
                  <a:pt x="11874704" y="5298574"/>
                  <a:pt x="11870875" y="5248352"/>
                  <a:pt x="11867636" y="5197983"/>
                </a:cubicBezTo>
                <a:cubicBezTo>
                  <a:pt x="11864395" y="5147614"/>
                  <a:pt x="11861892" y="5098276"/>
                  <a:pt x="11860125" y="5049969"/>
                </a:cubicBezTo>
                <a:cubicBezTo>
                  <a:pt x="11858357" y="5001662"/>
                  <a:pt x="11857474" y="4956300"/>
                  <a:pt x="11857474" y="4913884"/>
                </a:cubicBezTo>
                <a:close/>
                <a:moveTo>
                  <a:pt x="9179190" y="4268807"/>
                </a:moveTo>
                <a:lnTo>
                  <a:pt x="9747387" y="4268807"/>
                </a:lnTo>
                <a:lnTo>
                  <a:pt x="9747387" y="5789211"/>
                </a:lnTo>
                <a:lnTo>
                  <a:pt x="10670819" y="5033179"/>
                </a:lnTo>
                <a:lnTo>
                  <a:pt x="11413100" y="5033179"/>
                </a:lnTo>
                <a:lnTo>
                  <a:pt x="10580685" y="5698235"/>
                </a:lnTo>
                <a:cubicBezTo>
                  <a:pt x="10558889" y="5715319"/>
                  <a:pt x="10537239" y="5732399"/>
                  <a:pt x="10515736" y="5749474"/>
                </a:cubicBezTo>
                <a:cubicBezTo>
                  <a:pt x="10494234" y="5766549"/>
                  <a:pt x="10472878" y="5783477"/>
                  <a:pt x="10451670" y="5800257"/>
                </a:cubicBezTo>
                <a:cubicBezTo>
                  <a:pt x="10430462" y="5817038"/>
                  <a:pt x="10409254" y="5833818"/>
                  <a:pt x="10388046" y="5850598"/>
                </a:cubicBezTo>
                <a:cubicBezTo>
                  <a:pt x="10366838" y="5867379"/>
                  <a:pt x="10345336" y="5884307"/>
                  <a:pt x="10323538" y="5901382"/>
                </a:cubicBezTo>
                <a:cubicBezTo>
                  <a:pt x="10344158" y="5919654"/>
                  <a:pt x="10365071" y="5938072"/>
                  <a:pt x="10386279" y="5956638"/>
                </a:cubicBezTo>
                <a:cubicBezTo>
                  <a:pt x="10407487" y="5975205"/>
                  <a:pt x="10428695" y="5993769"/>
                  <a:pt x="10449903" y="6012330"/>
                </a:cubicBezTo>
                <a:cubicBezTo>
                  <a:pt x="10471111" y="6030892"/>
                  <a:pt x="10492319" y="6049308"/>
                  <a:pt x="10513527" y="6067580"/>
                </a:cubicBezTo>
                <a:cubicBezTo>
                  <a:pt x="10534735" y="6085852"/>
                  <a:pt x="10555649" y="6104124"/>
                  <a:pt x="10576267" y="6122395"/>
                </a:cubicBezTo>
                <a:lnTo>
                  <a:pt x="11405568" y="6858001"/>
                </a:lnTo>
                <a:lnTo>
                  <a:pt x="10615100" y="6858001"/>
                </a:lnTo>
                <a:lnTo>
                  <a:pt x="9747387" y="6038406"/>
                </a:lnTo>
                <a:lnTo>
                  <a:pt x="9747387" y="6858001"/>
                </a:lnTo>
                <a:lnTo>
                  <a:pt x="9179190" y="6858001"/>
                </a:lnTo>
                <a:close/>
                <a:moveTo>
                  <a:pt x="347646" y="4268807"/>
                </a:moveTo>
                <a:lnTo>
                  <a:pt x="1621894" y="4268807"/>
                </a:lnTo>
                <a:cubicBezTo>
                  <a:pt x="1789791" y="4268807"/>
                  <a:pt x="1942223" y="4283241"/>
                  <a:pt x="2079192" y="4312107"/>
                </a:cubicBezTo>
                <a:cubicBezTo>
                  <a:pt x="2216160" y="4340974"/>
                  <a:pt x="2338549" y="4382211"/>
                  <a:pt x="2446355" y="4435820"/>
                </a:cubicBezTo>
                <a:cubicBezTo>
                  <a:pt x="2554163" y="4489429"/>
                  <a:pt x="2647684" y="4554379"/>
                  <a:pt x="2726920" y="4630669"/>
                </a:cubicBezTo>
                <a:cubicBezTo>
                  <a:pt x="2806155" y="4706959"/>
                  <a:pt x="2871694" y="4792822"/>
                  <a:pt x="2923536" y="4888258"/>
                </a:cubicBezTo>
                <a:cubicBezTo>
                  <a:pt x="2975378" y="4983694"/>
                  <a:pt x="3013964" y="5087378"/>
                  <a:pt x="3039296" y="5199309"/>
                </a:cubicBezTo>
                <a:cubicBezTo>
                  <a:pt x="3064628" y="5311240"/>
                  <a:pt x="3077294" y="5429651"/>
                  <a:pt x="3077294" y="5554543"/>
                </a:cubicBezTo>
                <a:cubicBezTo>
                  <a:pt x="3077294" y="5677078"/>
                  <a:pt x="3064333" y="5795047"/>
                  <a:pt x="3038412" y="5908451"/>
                </a:cubicBezTo>
                <a:cubicBezTo>
                  <a:pt x="3012491" y="6021855"/>
                  <a:pt x="2973021" y="6128043"/>
                  <a:pt x="2920000" y="6227013"/>
                </a:cubicBezTo>
                <a:cubicBezTo>
                  <a:pt x="2866981" y="6325984"/>
                  <a:pt x="2799822" y="6416118"/>
                  <a:pt x="2718525" y="6497415"/>
                </a:cubicBezTo>
                <a:cubicBezTo>
                  <a:pt x="2637227" y="6578713"/>
                  <a:pt x="2541350" y="6648522"/>
                  <a:pt x="2430891" y="6706844"/>
                </a:cubicBezTo>
                <a:cubicBezTo>
                  <a:pt x="2320433" y="6765166"/>
                  <a:pt x="2194952" y="6810233"/>
                  <a:pt x="2054449" y="6842045"/>
                </a:cubicBezTo>
                <a:lnTo>
                  <a:pt x="1955220" y="6858001"/>
                </a:lnTo>
                <a:lnTo>
                  <a:pt x="347646" y="6858001"/>
                </a:lnTo>
                <a:close/>
                <a:moveTo>
                  <a:pt x="8680151" y="852550"/>
                </a:moveTo>
                <a:cubicBezTo>
                  <a:pt x="8607101" y="852550"/>
                  <a:pt x="8539647" y="860062"/>
                  <a:pt x="8477792" y="875084"/>
                </a:cubicBezTo>
                <a:cubicBezTo>
                  <a:pt x="8415934" y="890106"/>
                  <a:pt x="8361294" y="913229"/>
                  <a:pt x="8313871" y="944452"/>
                </a:cubicBezTo>
                <a:cubicBezTo>
                  <a:pt x="8266448" y="975675"/>
                  <a:pt x="8226829" y="1015145"/>
                  <a:pt x="8195018" y="1062863"/>
                </a:cubicBezTo>
                <a:cubicBezTo>
                  <a:pt x="8163205" y="1110581"/>
                  <a:pt x="8140525" y="1167136"/>
                  <a:pt x="8126976" y="1232527"/>
                </a:cubicBezTo>
                <a:lnTo>
                  <a:pt x="9237745" y="1232527"/>
                </a:lnTo>
                <a:cubicBezTo>
                  <a:pt x="9224195" y="1167136"/>
                  <a:pt x="9201367" y="1110581"/>
                  <a:pt x="9169261" y="1062863"/>
                </a:cubicBezTo>
                <a:cubicBezTo>
                  <a:pt x="9137155" y="1015145"/>
                  <a:pt x="9097095" y="975675"/>
                  <a:pt x="9049082" y="944452"/>
                </a:cubicBezTo>
                <a:cubicBezTo>
                  <a:pt x="9001069" y="913229"/>
                  <a:pt x="8945840" y="890106"/>
                  <a:pt x="8883395" y="875084"/>
                </a:cubicBezTo>
                <a:cubicBezTo>
                  <a:pt x="8820949" y="860062"/>
                  <a:pt x="8753202" y="852550"/>
                  <a:pt x="8680151" y="852550"/>
                </a:cubicBezTo>
                <a:close/>
                <a:moveTo>
                  <a:pt x="4517728" y="852550"/>
                </a:moveTo>
                <a:cubicBezTo>
                  <a:pt x="4444676" y="852550"/>
                  <a:pt x="4377225" y="860062"/>
                  <a:pt x="4315367" y="875084"/>
                </a:cubicBezTo>
                <a:cubicBezTo>
                  <a:pt x="4253511" y="890106"/>
                  <a:pt x="4198871" y="913229"/>
                  <a:pt x="4151447" y="944452"/>
                </a:cubicBezTo>
                <a:cubicBezTo>
                  <a:pt x="4104023" y="975675"/>
                  <a:pt x="4064406" y="1015145"/>
                  <a:pt x="4032594" y="1062863"/>
                </a:cubicBezTo>
                <a:cubicBezTo>
                  <a:pt x="4000782" y="1110581"/>
                  <a:pt x="3978101" y="1167136"/>
                  <a:pt x="3964552" y="1232527"/>
                </a:cubicBezTo>
                <a:lnTo>
                  <a:pt x="5075321" y="1232527"/>
                </a:lnTo>
                <a:cubicBezTo>
                  <a:pt x="5061771" y="1167136"/>
                  <a:pt x="5038944" y="1110581"/>
                  <a:pt x="5006838" y="1062863"/>
                </a:cubicBezTo>
                <a:cubicBezTo>
                  <a:pt x="4974731" y="1015145"/>
                  <a:pt x="4934671" y="975675"/>
                  <a:pt x="4886659" y="944452"/>
                </a:cubicBezTo>
                <a:cubicBezTo>
                  <a:pt x="4838646" y="913229"/>
                  <a:pt x="4783416" y="890106"/>
                  <a:pt x="4720972" y="875084"/>
                </a:cubicBezTo>
                <a:cubicBezTo>
                  <a:pt x="4658526" y="860062"/>
                  <a:pt x="4590776" y="852550"/>
                  <a:pt x="4517728" y="852550"/>
                </a:cubicBezTo>
                <a:close/>
                <a:moveTo>
                  <a:pt x="2264041" y="508804"/>
                </a:moveTo>
                <a:lnTo>
                  <a:pt x="2832239" y="508804"/>
                </a:lnTo>
                <a:lnTo>
                  <a:pt x="2832239" y="2365388"/>
                </a:lnTo>
                <a:lnTo>
                  <a:pt x="2264041" y="2365388"/>
                </a:lnTo>
                <a:close/>
                <a:moveTo>
                  <a:pt x="11655254" y="450482"/>
                </a:moveTo>
                <a:cubicBezTo>
                  <a:pt x="11737729" y="450482"/>
                  <a:pt x="11818142" y="455489"/>
                  <a:pt x="11896495" y="465504"/>
                </a:cubicBezTo>
                <a:cubicBezTo>
                  <a:pt x="11974846" y="475519"/>
                  <a:pt x="12048632" y="492456"/>
                  <a:pt x="12117853" y="516315"/>
                </a:cubicBezTo>
                <a:lnTo>
                  <a:pt x="12192001" y="547588"/>
                </a:lnTo>
                <a:lnTo>
                  <a:pt x="12192001" y="2365388"/>
                </a:lnTo>
                <a:lnTo>
                  <a:pt x="12021092" y="2365388"/>
                </a:lnTo>
                <a:lnTo>
                  <a:pt x="12021092" y="1344753"/>
                </a:lnTo>
                <a:cubicBezTo>
                  <a:pt x="12021092" y="1266990"/>
                  <a:pt x="12011960" y="1199390"/>
                  <a:pt x="11993698" y="1141951"/>
                </a:cubicBezTo>
                <a:cubicBezTo>
                  <a:pt x="11975434" y="1084513"/>
                  <a:pt x="11946715" y="1036795"/>
                  <a:pt x="11907540" y="998797"/>
                </a:cubicBezTo>
                <a:cubicBezTo>
                  <a:pt x="11868364" y="960800"/>
                  <a:pt x="11818142" y="932375"/>
                  <a:pt x="11756875" y="913523"/>
                </a:cubicBezTo>
                <a:cubicBezTo>
                  <a:pt x="11695607" y="894672"/>
                  <a:pt x="11621968" y="885246"/>
                  <a:pt x="11535958" y="885246"/>
                </a:cubicBezTo>
                <a:cubicBezTo>
                  <a:pt x="11468210" y="885246"/>
                  <a:pt x="11404880" y="889517"/>
                  <a:pt x="11345970" y="898059"/>
                </a:cubicBezTo>
                <a:cubicBezTo>
                  <a:pt x="11287059" y="906602"/>
                  <a:pt x="11231977" y="917942"/>
                  <a:pt x="11180724" y="932081"/>
                </a:cubicBezTo>
                <a:cubicBezTo>
                  <a:pt x="11129472" y="946219"/>
                  <a:pt x="11081458" y="962715"/>
                  <a:pt x="11036687" y="981566"/>
                </a:cubicBezTo>
                <a:cubicBezTo>
                  <a:pt x="10991913" y="1000418"/>
                  <a:pt x="10949497" y="1020153"/>
                  <a:pt x="10909439" y="1040772"/>
                </a:cubicBezTo>
                <a:lnTo>
                  <a:pt x="10909439" y="2365388"/>
                </a:lnTo>
                <a:lnTo>
                  <a:pt x="10341241" y="2365388"/>
                </a:lnTo>
                <a:lnTo>
                  <a:pt x="10341241" y="508804"/>
                </a:lnTo>
                <a:lnTo>
                  <a:pt x="10837862" y="508804"/>
                </a:lnTo>
                <a:lnTo>
                  <a:pt x="10877627" y="721768"/>
                </a:lnTo>
                <a:cubicBezTo>
                  <a:pt x="10924754" y="679352"/>
                  <a:pt x="10976890" y="641354"/>
                  <a:pt x="11034036" y="607775"/>
                </a:cubicBezTo>
                <a:cubicBezTo>
                  <a:pt x="11091179" y="574196"/>
                  <a:pt x="11152447" y="545771"/>
                  <a:pt x="11217838" y="522501"/>
                </a:cubicBezTo>
                <a:cubicBezTo>
                  <a:pt x="11283230" y="499231"/>
                  <a:pt x="11352598" y="481410"/>
                  <a:pt x="11425942" y="469039"/>
                </a:cubicBezTo>
                <a:cubicBezTo>
                  <a:pt x="11499286" y="456668"/>
                  <a:pt x="11575724" y="450482"/>
                  <a:pt x="11655254" y="450482"/>
                </a:cubicBezTo>
                <a:close/>
                <a:moveTo>
                  <a:pt x="8680151" y="450482"/>
                </a:moveTo>
                <a:cubicBezTo>
                  <a:pt x="8812700" y="450482"/>
                  <a:pt x="8933027" y="461823"/>
                  <a:pt x="9041129" y="484503"/>
                </a:cubicBezTo>
                <a:cubicBezTo>
                  <a:pt x="9149231" y="507184"/>
                  <a:pt x="9245551" y="539143"/>
                  <a:pt x="9330088" y="580381"/>
                </a:cubicBezTo>
                <a:cubicBezTo>
                  <a:pt x="9414625" y="621619"/>
                  <a:pt x="9487675" y="671252"/>
                  <a:pt x="9549238" y="729279"/>
                </a:cubicBezTo>
                <a:cubicBezTo>
                  <a:pt x="9610799" y="787307"/>
                  <a:pt x="9661758" y="851814"/>
                  <a:pt x="9702112" y="922802"/>
                </a:cubicBezTo>
                <a:cubicBezTo>
                  <a:pt x="9742467" y="993790"/>
                  <a:pt x="9772364" y="1070375"/>
                  <a:pt x="9791804" y="1152556"/>
                </a:cubicBezTo>
                <a:cubicBezTo>
                  <a:pt x="9811245" y="1234737"/>
                  <a:pt x="9820966" y="1320599"/>
                  <a:pt x="9820966" y="1410144"/>
                </a:cubicBezTo>
                <a:cubicBezTo>
                  <a:pt x="9820966" y="1427229"/>
                  <a:pt x="9820671" y="1443577"/>
                  <a:pt x="9820082" y="1459188"/>
                </a:cubicBezTo>
                <a:cubicBezTo>
                  <a:pt x="9819492" y="1474799"/>
                  <a:pt x="9818755" y="1489969"/>
                  <a:pt x="9817873" y="1504697"/>
                </a:cubicBezTo>
                <a:cubicBezTo>
                  <a:pt x="9816988" y="1519425"/>
                  <a:pt x="9815810" y="1533269"/>
                  <a:pt x="9814338" y="1546229"/>
                </a:cubicBezTo>
                <a:cubicBezTo>
                  <a:pt x="9812865" y="1559190"/>
                  <a:pt x="9811244" y="1571561"/>
                  <a:pt x="9809478" y="1583343"/>
                </a:cubicBezTo>
                <a:lnTo>
                  <a:pt x="8119023" y="1583343"/>
                </a:lnTo>
                <a:cubicBezTo>
                  <a:pt x="8126092" y="1645789"/>
                  <a:pt x="8144207" y="1702049"/>
                  <a:pt x="8173368" y="1752123"/>
                </a:cubicBezTo>
                <a:cubicBezTo>
                  <a:pt x="8202529" y="1802198"/>
                  <a:pt x="8244209" y="1844761"/>
                  <a:pt x="8298407" y="1879813"/>
                </a:cubicBezTo>
                <a:cubicBezTo>
                  <a:pt x="8352605" y="1914866"/>
                  <a:pt x="8420352" y="1941817"/>
                  <a:pt x="8501651" y="1960669"/>
                </a:cubicBezTo>
                <a:cubicBezTo>
                  <a:pt x="8582947" y="1979521"/>
                  <a:pt x="8679856" y="1988946"/>
                  <a:pt x="8792377" y="1988946"/>
                </a:cubicBezTo>
                <a:cubicBezTo>
                  <a:pt x="8873674" y="1988946"/>
                  <a:pt x="8954382" y="1985264"/>
                  <a:pt x="9034502" y="1977900"/>
                </a:cubicBezTo>
                <a:cubicBezTo>
                  <a:pt x="9114620" y="1970536"/>
                  <a:pt x="9191647" y="1960227"/>
                  <a:pt x="9265581" y="1946972"/>
                </a:cubicBezTo>
                <a:cubicBezTo>
                  <a:pt x="9339513" y="1933717"/>
                  <a:pt x="9409323" y="1918106"/>
                  <a:pt x="9475010" y="1900138"/>
                </a:cubicBezTo>
                <a:cubicBezTo>
                  <a:pt x="9540695" y="1882170"/>
                  <a:pt x="9600343" y="1862287"/>
                  <a:pt x="9653952" y="1840490"/>
                </a:cubicBezTo>
                <a:lnTo>
                  <a:pt x="9653952" y="2246093"/>
                </a:lnTo>
                <a:cubicBezTo>
                  <a:pt x="9600343" y="2272603"/>
                  <a:pt x="9537897" y="2296462"/>
                  <a:pt x="9466615" y="2317670"/>
                </a:cubicBezTo>
                <a:cubicBezTo>
                  <a:pt x="9395332" y="2338878"/>
                  <a:pt x="9319190" y="2356994"/>
                  <a:pt x="9238187" y="2372016"/>
                </a:cubicBezTo>
                <a:cubicBezTo>
                  <a:pt x="9157184" y="2387038"/>
                  <a:pt x="9073088" y="2398673"/>
                  <a:pt x="8985900" y="2406920"/>
                </a:cubicBezTo>
                <a:cubicBezTo>
                  <a:pt x="8898711" y="2415168"/>
                  <a:pt x="8812700" y="2419292"/>
                  <a:pt x="8727869" y="2419292"/>
                </a:cubicBezTo>
                <a:cubicBezTo>
                  <a:pt x="8595318" y="2419292"/>
                  <a:pt x="8473962" y="2408099"/>
                  <a:pt x="8363799" y="2385713"/>
                </a:cubicBezTo>
                <a:cubicBezTo>
                  <a:pt x="8253634" y="2363327"/>
                  <a:pt x="8154664" y="2331662"/>
                  <a:pt x="8066887" y="2290718"/>
                </a:cubicBezTo>
                <a:cubicBezTo>
                  <a:pt x="7979108" y="2249775"/>
                  <a:pt x="7902523" y="2200143"/>
                  <a:pt x="7837133" y="2141821"/>
                </a:cubicBezTo>
                <a:cubicBezTo>
                  <a:pt x="7771741" y="2083499"/>
                  <a:pt x="7717249" y="2018255"/>
                  <a:pt x="7673655" y="1946088"/>
                </a:cubicBezTo>
                <a:cubicBezTo>
                  <a:pt x="7630060" y="1873922"/>
                  <a:pt x="7597512" y="1795865"/>
                  <a:pt x="7576010" y="1711917"/>
                </a:cubicBezTo>
                <a:cubicBezTo>
                  <a:pt x="7554507" y="1627969"/>
                  <a:pt x="7543756" y="1539454"/>
                  <a:pt x="7543756" y="1446375"/>
                </a:cubicBezTo>
                <a:cubicBezTo>
                  <a:pt x="7543756" y="1359186"/>
                  <a:pt x="7553624" y="1273913"/>
                  <a:pt x="7573359" y="1190553"/>
                </a:cubicBezTo>
                <a:cubicBezTo>
                  <a:pt x="7593093" y="1107194"/>
                  <a:pt x="7623285" y="1028695"/>
                  <a:pt x="7663934" y="955056"/>
                </a:cubicBezTo>
                <a:cubicBezTo>
                  <a:pt x="7704582" y="881417"/>
                  <a:pt x="7755835" y="813669"/>
                  <a:pt x="7817692" y="751812"/>
                </a:cubicBezTo>
                <a:cubicBezTo>
                  <a:pt x="7879548" y="689956"/>
                  <a:pt x="7952450" y="636641"/>
                  <a:pt x="8036400" y="591869"/>
                </a:cubicBezTo>
                <a:cubicBezTo>
                  <a:pt x="8120347" y="547097"/>
                  <a:pt x="8215931" y="512339"/>
                  <a:pt x="8323150" y="487596"/>
                </a:cubicBezTo>
                <a:cubicBezTo>
                  <a:pt x="8430368" y="462853"/>
                  <a:pt x="8549368" y="450482"/>
                  <a:pt x="8680151" y="450482"/>
                </a:cubicBezTo>
                <a:close/>
                <a:moveTo>
                  <a:pt x="4517728" y="450482"/>
                </a:moveTo>
                <a:cubicBezTo>
                  <a:pt x="4650278" y="450482"/>
                  <a:pt x="4770603" y="461823"/>
                  <a:pt x="4878705" y="484503"/>
                </a:cubicBezTo>
                <a:cubicBezTo>
                  <a:pt x="4986806" y="507184"/>
                  <a:pt x="5083127" y="539143"/>
                  <a:pt x="5167664" y="580381"/>
                </a:cubicBezTo>
                <a:cubicBezTo>
                  <a:pt x="5252201" y="621619"/>
                  <a:pt x="5325252" y="671252"/>
                  <a:pt x="5386814" y="729279"/>
                </a:cubicBezTo>
                <a:cubicBezTo>
                  <a:pt x="5448375" y="787307"/>
                  <a:pt x="5499334" y="851814"/>
                  <a:pt x="5539687" y="922802"/>
                </a:cubicBezTo>
                <a:cubicBezTo>
                  <a:pt x="5580043" y="993790"/>
                  <a:pt x="5609938" y="1070375"/>
                  <a:pt x="5629379" y="1152556"/>
                </a:cubicBezTo>
                <a:cubicBezTo>
                  <a:pt x="5648820" y="1234737"/>
                  <a:pt x="5658540" y="1320599"/>
                  <a:pt x="5658540" y="1410144"/>
                </a:cubicBezTo>
                <a:cubicBezTo>
                  <a:pt x="5658540" y="1427229"/>
                  <a:pt x="5658245" y="1443577"/>
                  <a:pt x="5657657" y="1459188"/>
                </a:cubicBezTo>
                <a:cubicBezTo>
                  <a:pt x="5657070" y="1474799"/>
                  <a:pt x="5656331" y="1489969"/>
                  <a:pt x="5655449" y="1504697"/>
                </a:cubicBezTo>
                <a:cubicBezTo>
                  <a:pt x="5654565" y="1519425"/>
                  <a:pt x="5653387" y="1533269"/>
                  <a:pt x="5651914" y="1546229"/>
                </a:cubicBezTo>
                <a:cubicBezTo>
                  <a:pt x="5650441" y="1559190"/>
                  <a:pt x="5648820" y="1571561"/>
                  <a:pt x="5647052" y="1583343"/>
                </a:cubicBezTo>
                <a:lnTo>
                  <a:pt x="3956599" y="1583343"/>
                </a:lnTo>
                <a:cubicBezTo>
                  <a:pt x="3963668" y="1645789"/>
                  <a:pt x="3981783" y="1702049"/>
                  <a:pt x="4010944" y="1752123"/>
                </a:cubicBezTo>
                <a:cubicBezTo>
                  <a:pt x="4040105" y="1802198"/>
                  <a:pt x="4081785" y="1844761"/>
                  <a:pt x="4135983" y="1879813"/>
                </a:cubicBezTo>
                <a:cubicBezTo>
                  <a:pt x="4190180" y="1914866"/>
                  <a:pt x="4257930" y="1941817"/>
                  <a:pt x="4339226" y="1960669"/>
                </a:cubicBezTo>
                <a:cubicBezTo>
                  <a:pt x="4420524" y="1979521"/>
                  <a:pt x="4517433" y="1988946"/>
                  <a:pt x="4629955" y="1988946"/>
                </a:cubicBezTo>
                <a:cubicBezTo>
                  <a:pt x="4711249" y="1988946"/>
                  <a:pt x="4791959" y="1985264"/>
                  <a:pt x="4872079" y="1977900"/>
                </a:cubicBezTo>
                <a:cubicBezTo>
                  <a:pt x="4952197" y="1970536"/>
                  <a:pt x="5029222" y="1960227"/>
                  <a:pt x="5103157" y="1946972"/>
                </a:cubicBezTo>
                <a:cubicBezTo>
                  <a:pt x="5177090" y="1933717"/>
                  <a:pt x="5246899" y="1918106"/>
                  <a:pt x="5312586" y="1900138"/>
                </a:cubicBezTo>
                <a:cubicBezTo>
                  <a:pt x="5378271" y="1882170"/>
                  <a:pt x="5437920" y="1862287"/>
                  <a:pt x="5491527" y="1840490"/>
                </a:cubicBezTo>
                <a:lnTo>
                  <a:pt x="5491527" y="2246093"/>
                </a:lnTo>
                <a:cubicBezTo>
                  <a:pt x="5437920" y="2272603"/>
                  <a:pt x="5375474" y="2296462"/>
                  <a:pt x="5304192" y="2317670"/>
                </a:cubicBezTo>
                <a:cubicBezTo>
                  <a:pt x="5232908" y="2338878"/>
                  <a:pt x="5156765" y="2356994"/>
                  <a:pt x="5075763" y="2372016"/>
                </a:cubicBezTo>
                <a:cubicBezTo>
                  <a:pt x="4994760" y="2387038"/>
                  <a:pt x="4910664" y="2398673"/>
                  <a:pt x="4823476" y="2406920"/>
                </a:cubicBezTo>
                <a:cubicBezTo>
                  <a:pt x="4736288" y="2415168"/>
                  <a:pt x="4650278" y="2419292"/>
                  <a:pt x="4565446" y="2419292"/>
                </a:cubicBezTo>
                <a:cubicBezTo>
                  <a:pt x="4432896" y="2419292"/>
                  <a:pt x="4311538" y="2408099"/>
                  <a:pt x="4201376" y="2385713"/>
                </a:cubicBezTo>
                <a:cubicBezTo>
                  <a:pt x="4091210" y="2363327"/>
                  <a:pt x="3992239" y="2331662"/>
                  <a:pt x="3904463" y="2290718"/>
                </a:cubicBezTo>
                <a:cubicBezTo>
                  <a:pt x="3816684" y="2249775"/>
                  <a:pt x="3740100" y="2200143"/>
                  <a:pt x="3674709" y="2141821"/>
                </a:cubicBezTo>
                <a:cubicBezTo>
                  <a:pt x="3609317" y="2083499"/>
                  <a:pt x="3554824" y="2018255"/>
                  <a:pt x="3511230" y="1946088"/>
                </a:cubicBezTo>
                <a:cubicBezTo>
                  <a:pt x="3467636" y="1873922"/>
                  <a:pt x="3435087" y="1795865"/>
                  <a:pt x="3413585" y="1711917"/>
                </a:cubicBezTo>
                <a:cubicBezTo>
                  <a:pt x="3392082" y="1627969"/>
                  <a:pt x="3381331" y="1539454"/>
                  <a:pt x="3381331" y="1446375"/>
                </a:cubicBezTo>
                <a:cubicBezTo>
                  <a:pt x="3381331" y="1359186"/>
                  <a:pt x="3391199" y="1273913"/>
                  <a:pt x="3410934" y="1190553"/>
                </a:cubicBezTo>
                <a:cubicBezTo>
                  <a:pt x="3430669" y="1107194"/>
                  <a:pt x="3460861" y="1028695"/>
                  <a:pt x="3501510" y="955056"/>
                </a:cubicBezTo>
                <a:cubicBezTo>
                  <a:pt x="3542159" y="881417"/>
                  <a:pt x="3593411" y="813669"/>
                  <a:pt x="3655268" y="751812"/>
                </a:cubicBezTo>
                <a:cubicBezTo>
                  <a:pt x="3717124" y="689956"/>
                  <a:pt x="3790027" y="636641"/>
                  <a:pt x="3873976" y="591869"/>
                </a:cubicBezTo>
                <a:cubicBezTo>
                  <a:pt x="3957924" y="547097"/>
                  <a:pt x="4053507" y="512339"/>
                  <a:pt x="4160726" y="487596"/>
                </a:cubicBezTo>
                <a:cubicBezTo>
                  <a:pt x="4267944" y="462853"/>
                  <a:pt x="4386944" y="450482"/>
                  <a:pt x="4517728" y="450482"/>
                </a:cubicBezTo>
                <a:close/>
                <a:moveTo>
                  <a:pt x="6157609" y="0"/>
                </a:moveTo>
                <a:lnTo>
                  <a:pt x="6725806" y="0"/>
                </a:lnTo>
                <a:lnTo>
                  <a:pt x="6725806" y="1760960"/>
                </a:lnTo>
                <a:cubicBezTo>
                  <a:pt x="6725806" y="1793361"/>
                  <a:pt x="6728752" y="1822817"/>
                  <a:pt x="6734642" y="1849327"/>
                </a:cubicBezTo>
                <a:cubicBezTo>
                  <a:pt x="6740534" y="1875837"/>
                  <a:pt x="6752904" y="1898370"/>
                  <a:pt x="6771756" y="1916927"/>
                </a:cubicBezTo>
                <a:cubicBezTo>
                  <a:pt x="6790608" y="1935484"/>
                  <a:pt x="6817559" y="1949770"/>
                  <a:pt x="6852612" y="1959785"/>
                </a:cubicBezTo>
                <a:cubicBezTo>
                  <a:pt x="6887663" y="1969800"/>
                  <a:pt x="6934645" y="1974808"/>
                  <a:pt x="6993557" y="1974808"/>
                </a:cubicBezTo>
                <a:cubicBezTo>
                  <a:pt x="7048343" y="1974808"/>
                  <a:pt x="7099892" y="1970831"/>
                  <a:pt x="7148198" y="1962878"/>
                </a:cubicBezTo>
                <a:cubicBezTo>
                  <a:pt x="7196506" y="1954925"/>
                  <a:pt x="7242751" y="1945647"/>
                  <a:pt x="7286935" y="1935043"/>
                </a:cubicBezTo>
                <a:lnTo>
                  <a:pt x="7286935" y="2332693"/>
                </a:lnTo>
                <a:cubicBezTo>
                  <a:pt x="7256301" y="2344475"/>
                  <a:pt x="7221984" y="2355226"/>
                  <a:pt x="7183987" y="2364947"/>
                </a:cubicBezTo>
                <a:cubicBezTo>
                  <a:pt x="7145989" y="2374667"/>
                  <a:pt x="7106077" y="2383062"/>
                  <a:pt x="7064249" y="2390131"/>
                </a:cubicBezTo>
                <a:cubicBezTo>
                  <a:pt x="7022423" y="2397200"/>
                  <a:pt x="6979417" y="2402650"/>
                  <a:pt x="6935235" y="2406479"/>
                </a:cubicBezTo>
                <a:cubicBezTo>
                  <a:pt x="6891051" y="2410308"/>
                  <a:pt x="6847752" y="2412223"/>
                  <a:pt x="6805336" y="2412223"/>
                </a:cubicBezTo>
                <a:cubicBezTo>
                  <a:pt x="6687514" y="2412223"/>
                  <a:pt x="6587659" y="2399262"/>
                  <a:pt x="6505773" y="2373342"/>
                </a:cubicBezTo>
                <a:cubicBezTo>
                  <a:pt x="6423887" y="2347420"/>
                  <a:pt x="6357022" y="2309865"/>
                  <a:pt x="6305180" y="2260674"/>
                </a:cubicBezTo>
                <a:cubicBezTo>
                  <a:pt x="6253338" y="2211483"/>
                  <a:pt x="6215782" y="2151246"/>
                  <a:pt x="6192514" y="2079964"/>
                </a:cubicBezTo>
                <a:cubicBezTo>
                  <a:pt x="6169242" y="2008682"/>
                  <a:pt x="6157609" y="1927679"/>
                  <a:pt x="6157609" y="1836955"/>
                </a:cubicBezTo>
                <a:close/>
                <a:moveTo>
                  <a:pt x="2264041" y="0"/>
                </a:moveTo>
                <a:lnTo>
                  <a:pt x="2832239" y="0"/>
                </a:lnTo>
                <a:lnTo>
                  <a:pt x="2832239" y="237518"/>
                </a:lnTo>
                <a:lnTo>
                  <a:pt x="2264041" y="237518"/>
                </a:lnTo>
                <a:close/>
                <a:moveTo>
                  <a:pt x="1165266" y="0"/>
                </a:moveTo>
                <a:lnTo>
                  <a:pt x="1795460" y="0"/>
                </a:lnTo>
                <a:lnTo>
                  <a:pt x="599681" y="2365388"/>
                </a:lnTo>
                <a:lnTo>
                  <a:pt x="0" y="2365388"/>
                </a:lnTo>
                <a:lnTo>
                  <a:pt x="0" y="1139294"/>
                </a:lnTo>
                <a:lnTo>
                  <a:pt x="176267" y="1507348"/>
                </a:lnTo>
                <a:cubicBezTo>
                  <a:pt x="198073" y="1554477"/>
                  <a:pt x="220321" y="1601606"/>
                  <a:pt x="243011" y="1648734"/>
                </a:cubicBezTo>
                <a:cubicBezTo>
                  <a:pt x="265701" y="1695864"/>
                  <a:pt x="287949" y="1742992"/>
                  <a:pt x="309756" y="1790121"/>
                </a:cubicBezTo>
                <a:cubicBezTo>
                  <a:pt x="331562" y="1742403"/>
                  <a:pt x="353957" y="1695274"/>
                  <a:pt x="376942" y="1648734"/>
                </a:cubicBezTo>
                <a:cubicBezTo>
                  <a:pt x="399926" y="1602195"/>
                  <a:pt x="422322" y="1555066"/>
                  <a:pt x="444128" y="1507348"/>
                </a:cubicBezTo>
                <a:close/>
              </a:path>
            </a:pathLst>
          </a:custGeom>
          <a:solidFill>
            <a:schemeClr val="tx1">
              <a:alpha val="7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</a:pPr>
            <a:endParaRPr lang="de-DE" sz="28500" b="1" i="0">
              <a:solidFill>
                <a:schemeClr val="tx1">
                  <a:alpha val="7000"/>
                </a:schemeClr>
              </a:solidFill>
              <a:latin typeface="Audi Type Extended" panose="020B0503040200000003" pitchFamily="34" charset="0"/>
              <a:cs typeface="Audi Type Extended" panose="020B0503040200000003" pitchFamily="34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9099C1-F327-6246-A2FF-06D27AA590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5845" y="3297957"/>
            <a:ext cx="9232900" cy="852805"/>
          </a:xfrm>
        </p:spPr>
        <p:txBody>
          <a:bodyPr anchor="ctr"/>
          <a:lstStyle>
            <a:lvl1pPr algn="r">
              <a:defRPr sz="6800" b="1" i="0">
                <a:solidFill>
                  <a:schemeClr val="bg1"/>
                </a:solidFill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128911084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1 (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4468478"/>
            <a:ext cx="113411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Ort | Datum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286245"/>
            <a:ext cx="11341099" cy="734426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der Präsentation</a:t>
            </a:r>
            <a:br>
              <a:rPr lang="de-DE" noProof="0"/>
            </a:br>
            <a:r>
              <a:rPr lang="de-DE" noProof="0"/>
              <a:t>(maximal zwei-zeilig)</a:t>
            </a: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5F0B603A-F138-AF4E-8362-C1B122D08A5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19433" y="2347570"/>
            <a:ext cx="1960658" cy="680464"/>
          </a:xfrm>
          <a:custGeom>
            <a:avLst/>
            <a:gdLst>
              <a:gd name="T0" fmla="*/ 2147483647 w 3769"/>
              <a:gd name="T1" fmla="*/ 2147483647 h 1303"/>
              <a:gd name="T2" fmla="*/ 2147483647 w 3769"/>
              <a:gd name="T3" fmla="*/ 2147483647 h 1303"/>
              <a:gd name="T4" fmla="*/ 2147483647 w 3769"/>
              <a:gd name="T5" fmla="*/ 2147483647 h 1303"/>
              <a:gd name="T6" fmla="*/ 2147483647 w 3769"/>
              <a:gd name="T7" fmla="*/ 2147483647 h 1303"/>
              <a:gd name="T8" fmla="*/ 2147483647 w 3769"/>
              <a:gd name="T9" fmla="*/ 2147483647 h 1303"/>
              <a:gd name="T10" fmla="*/ 2147483647 w 3769"/>
              <a:gd name="T11" fmla="*/ 2147483647 h 1303"/>
              <a:gd name="T12" fmla="*/ 2147483647 w 3769"/>
              <a:gd name="T13" fmla="*/ 2147483647 h 1303"/>
              <a:gd name="T14" fmla="*/ 2147483647 w 3769"/>
              <a:gd name="T15" fmla="*/ 2147483647 h 1303"/>
              <a:gd name="T16" fmla="*/ 2147483647 w 3769"/>
              <a:gd name="T17" fmla="*/ 2147483647 h 1303"/>
              <a:gd name="T18" fmla="*/ 2147483647 w 3769"/>
              <a:gd name="T19" fmla="*/ 2147483647 h 1303"/>
              <a:gd name="T20" fmla="*/ 2147483647 w 3769"/>
              <a:gd name="T21" fmla="*/ 2147483647 h 1303"/>
              <a:gd name="T22" fmla="*/ 2147483647 w 3769"/>
              <a:gd name="T23" fmla="*/ 2147483647 h 1303"/>
              <a:gd name="T24" fmla="*/ 2147483647 w 3769"/>
              <a:gd name="T25" fmla="*/ 2147483647 h 1303"/>
              <a:gd name="T26" fmla="*/ 2147483647 w 3769"/>
              <a:gd name="T27" fmla="*/ 2147483647 h 1303"/>
              <a:gd name="T28" fmla="*/ 2147483647 w 3769"/>
              <a:gd name="T29" fmla="*/ 2147483647 h 1303"/>
              <a:gd name="T30" fmla="*/ 2147483647 w 3769"/>
              <a:gd name="T31" fmla="*/ 2147483647 h 1303"/>
              <a:gd name="T32" fmla="*/ 2147483647 w 3769"/>
              <a:gd name="T33" fmla="*/ 2147483647 h 1303"/>
              <a:gd name="T34" fmla="*/ 2147483647 w 3769"/>
              <a:gd name="T35" fmla="*/ 2147483647 h 1303"/>
              <a:gd name="T36" fmla="*/ 2147483647 w 3769"/>
              <a:gd name="T37" fmla="*/ 2147483647 h 1303"/>
              <a:gd name="T38" fmla="*/ 2147483647 w 3769"/>
              <a:gd name="T39" fmla="*/ 2147483647 h 1303"/>
              <a:gd name="T40" fmla="*/ 2147483647 w 3769"/>
              <a:gd name="T41" fmla="*/ 2147483647 h 1303"/>
              <a:gd name="T42" fmla="*/ 2147483647 w 3769"/>
              <a:gd name="T43" fmla="*/ 2147483647 h 1303"/>
              <a:gd name="T44" fmla="*/ 2147483647 w 3769"/>
              <a:gd name="T45" fmla="*/ 2147483647 h 1303"/>
              <a:gd name="T46" fmla="*/ 2147483647 w 3769"/>
              <a:gd name="T47" fmla="*/ 2147483647 h 1303"/>
              <a:gd name="T48" fmla="*/ 2147483647 w 3769"/>
              <a:gd name="T49" fmla="*/ 2147483647 h 1303"/>
              <a:gd name="T50" fmla="*/ 2147483647 w 3769"/>
              <a:gd name="T51" fmla="*/ 2147483647 h 1303"/>
              <a:gd name="T52" fmla="*/ 2147483647 w 3769"/>
              <a:gd name="T53" fmla="*/ 2147483647 h 1303"/>
              <a:gd name="T54" fmla="*/ 2147483647 w 3769"/>
              <a:gd name="T55" fmla="*/ 2147483647 h 1303"/>
              <a:gd name="T56" fmla="*/ 2147483647 w 3769"/>
              <a:gd name="T57" fmla="*/ 2147483647 h 1303"/>
              <a:gd name="T58" fmla="*/ 2147483647 w 3769"/>
              <a:gd name="T59" fmla="*/ 2147483647 h 1303"/>
              <a:gd name="T60" fmla="*/ 2147483647 w 3769"/>
              <a:gd name="T61" fmla="*/ 0 h 1303"/>
              <a:gd name="T62" fmla="*/ 2147483647 w 3769"/>
              <a:gd name="T63" fmla="*/ 2147483647 h 1303"/>
              <a:gd name="T64" fmla="*/ 2147483647 w 3769"/>
              <a:gd name="T65" fmla="*/ 2147483647 h 1303"/>
              <a:gd name="T66" fmla="*/ 2147483647 w 3769"/>
              <a:gd name="T67" fmla="*/ 2147483647 h 1303"/>
              <a:gd name="T68" fmla="*/ 0 w 3769"/>
              <a:gd name="T69" fmla="*/ 2147483647 h 1303"/>
              <a:gd name="T70" fmla="*/ 2147483647 w 3769"/>
              <a:gd name="T71" fmla="*/ 2147483647 h 1303"/>
              <a:gd name="T72" fmla="*/ 2147483647 w 3769"/>
              <a:gd name="T73" fmla="*/ 2147483647 h 1303"/>
              <a:gd name="T74" fmla="*/ 2147483647 w 3769"/>
              <a:gd name="T75" fmla="*/ 2147483647 h 1303"/>
              <a:gd name="T76" fmla="*/ 2147483647 w 3769"/>
              <a:gd name="T77" fmla="*/ 2147483647 h 130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3769" h="1303">
                <a:moveTo>
                  <a:pt x="3117" y="1156"/>
                </a:moveTo>
                <a:lnTo>
                  <a:pt x="3117" y="1156"/>
                </a:lnTo>
                <a:cubicBezTo>
                  <a:pt x="3002" y="1156"/>
                  <a:pt x="2895" y="1117"/>
                  <a:pt x="2810" y="1052"/>
                </a:cubicBezTo>
                <a:cubicBezTo>
                  <a:pt x="2896" y="941"/>
                  <a:pt x="2948" y="802"/>
                  <a:pt x="2948" y="651"/>
                </a:cubicBezTo>
                <a:cubicBezTo>
                  <a:pt x="2948" y="500"/>
                  <a:pt x="2896" y="361"/>
                  <a:pt x="2810" y="251"/>
                </a:cubicBezTo>
                <a:cubicBezTo>
                  <a:pt x="2895" y="186"/>
                  <a:pt x="3002" y="147"/>
                  <a:pt x="3117" y="147"/>
                </a:cubicBezTo>
                <a:cubicBezTo>
                  <a:pt x="3396" y="147"/>
                  <a:pt x="3622" y="373"/>
                  <a:pt x="3622" y="651"/>
                </a:cubicBezTo>
                <a:cubicBezTo>
                  <a:pt x="3622" y="930"/>
                  <a:pt x="3396" y="1156"/>
                  <a:pt x="3117" y="1156"/>
                </a:cubicBezTo>
                <a:close/>
                <a:moveTo>
                  <a:pt x="1989" y="1052"/>
                </a:moveTo>
                <a:lnTo>
                  <a:pt x="1989" y="1052"/>
                </a:lnTo>
                <a:cubicBezTo>
                  <a:pt x="2075" y="941"/>
                  <a:pt x="2126" y="802"/>
                  <a:pt x="2126" y="651"/>
                </a:cubicBezTo>
                <a:cubicBezTo>
                  <a:pt x="2126" y="500"/>
                  <a:pt x="2075" y="361"/>
                  <a:pt x="1989" y="251"/>
                </a:cubicBezTo>
                <a:cubicBezTo>
                  <a:pt x="2074" y="186"/>
                  <a:pt x="2180" y="147"/>
                  <a:pt x="2296" y="147"/>
                </a:cubicBezTo>
                <a:cubicBezTo>
                  <a:pt x="2411" y="147"/>
                  <a:pt x="2518" y="186"/>
                  <a:pt x="2603" y="251"/>
                </a:cubicBezTo>
                <a:cubicBezTo>
                  <a:pt x="2517" y="362"/>
                  <a:pt x="2465" y="500"/>
                  <a:pt x="2465" y="651"/>
                </a:cubicBezTo>
                <a:cubicBezTo>
                  <a:pt x="2465" y="802"/>
                  <a:pt x="2517" y="941"/>
                  <a:pt x="2603" y="1052"/>
                </a:cubicBezTo>
                <a:cubicBezTo>
                  <a:pt x="2518" y="1117"/>
                  <a:pt x="2411" y="1156"/>
                  <a:pt x="2296" y="1156"/>
                </a:cubicBezTo>
                <a:cubicBezTo>
                  <a:pt x="2180" y="1156"/>
                  <a:pt x="2074" y="1117"/>
                  <a:pt x="1989" y="1052"/>
                </a:cubicBezTo>
                <a:close/>
                <a:moveTo>
                  <a:pt x="1167" y="1052"/>
                </a:moveTo>
                <a:lnTo>
                  <a:pt x="1167" y="1052"/>
                </a:lnTo>
                <a:cubicBezTo>
                  <a:pt x="1253" y="941"/>
                  <a:pt x="1305" y="802"/>
                  <a:pt x="1305" y="651"/>
                </a:cubicBezTo>
                <a:cubicBezTo>
                  <a:pt x="1305" y="500"/>
                  <a:pt x="1253" y="361"/>
                  <a:pt x="1167" y="251"/>
                </a:cubicBezTo>
                <a:cubicBezTo>
                  <a:pt x="1252" y="186"/>
                  <a:pt x="1359" y="147"/>
                  <a:pt x="1474" y="147"/>
                </a:cubicBezTo>
                <a:cubicBezTo>
                  <a:pt x="1590" y="147"/>
                  <a:pt x="1696" y="186"/>
                  <a:pt x="1781" y="251"/>
                </a:cubicBezTo>
                <a:cubicBezTo>
                  <a:pt x="1695" y="361"/>
                  <a:pt x="1644" y="500"/>
                  <a:pt x="1644" y="651"/>
                </a:cubicBezTo>
                <a:cubicBezTo>
                  <a:pt x="1644" y="802"/>
                  <a:pt x="1695" y="941"/>
                  <a:pt x="1781" y="1052"/>
                </a:cubicBezTo>
                <a:cubicBezTo>
                  <a:pt x="1696" y="1117"/>
                  <a:pt x="1590" y="1156"/>
                  <a:pt x="1474" y="1156"/>
                </a:cubicBezTo>
                <a:cubicBezTo>
                  <a:pt x="1359" y="1156"/>
                  <a:pt x="1252" y="1117"/>
                  <a:pt x="1167" y="1052"/>
                </a:cubicBezTo>
                <a:close/>
                <a:moveTo>
                  <a:pt x="148" y="651"/>
                </a:moveTo>
                <a:lnTo>
                  <a:pt x="148" y="651"/>
                </a:lnTo>
                <a:cubicBezTo>
                  <a:pt x="148" y="373"/>
                  <a:pt x="374" y="147"/>
                  <a:pt x="653" y="147"/>
                </a:cubicBezTo>
                <a:cubicBezTo>
                  <a:pt x="768" y="147"/>
                  <a:pt x="875" y="186"/>
                  <a:pt x="960" y="251"/>
                </a:cubicBezTo>
                <a:cubicBezTo>
                  <a:pt x="874" y="361"/>
                  <a:pt x="822" y="500"/>
                  <a:pt x="822" y="651"/>
                </a:cubicBezTo>
                <a:cubicBezTo>
                  <a:pt x="822" y="802"/>
                  <a:pt x="874" y="941"/>
                  <a:pt x="960" y="1052"/>
                </a:cubicBezTo>
                <a:cubicBezTo>
                  <a:pt x="875" y="1117"/>
                  <a:pt x="768" y="1156"/>
                  <a:pt x="653" y="1156"/>
                </a:cubicBezTo>
                <a:cubicBezTo>
                  <a:pt x="374" y="1156"/>
                  <a:pt x="148" y="930"/>
                  <a:pt x="148" y="651"/>
                </a:cubicBezTo>
                <a:close/>
                <a:moveTo>
                  <a:pt x="1063" y="944"/>
                </a:moveTo>
                <a:lnTo>
                  <a:pt x="1063" y="944"/>
                </a:lnTo>
                <a:cubicBezTo>
                  <a:pt x="1004" y="862"/>
                  <a:pt x="969" y="761"/>
                  <a:pt x="969" y="651"/>
                </a:cubicBezTo>
                <a:cubicBezTo>
                  <a:pt x="969" y="542"/>
                  <a:pt x="1004" y="441"/>
                  <a:pt x="1063" y="358"/>
                </a:cubicBezTo>
                <a:cubicBezTo>
                  <a:pt x="1122" y="441"/>
                  <a:pt x="1157" y="542"/>
                  <a:pt x="1157" y="651"/>
                </a:cubicBezTo>
                <a:cubicBezTo>
                  <a:pt x="1157" y="761"/>
                  <a:pt x="1122" y="862"/>
                  <a:pt x="1063" y="944"/>
                </a:cubicBezTo>
                <a:close/>
                <a:moveTo>
                  <a:pt x="1885" y="944"/>
                </a:moveTo>
                <a:lnTo>
                  <a:pt x="1885" y="944"/>
                </a:lnTo>
                <a:cubicBezTo>
                  <a:pt x="1826" y="862"/>
                  <a:pt x="1791" y="761"/>
                  <a:pt x="1791" y="651"/>
                </a:cubicBezTo>
                <a:cubicBezTo>
                  <a:pt x="1791" y="542"/>
                  <a:pt x="1826" y="441"/>
                  <a:pt x="1885" y="358"/>
                </a:cubicBezTo>
                <a:cubicBezTo>
                  <a:pt x="1944" y="441"/>
                  <a:pt x="1979" y="542"/>
                  <a:pt x="1979" y="651"/>
                </a:cubicBezTo>
                <a:cubicBezTo>
                  <a:pt x="1979" y="761"/>
                  <a:pt x="1944" y="862"/>
                  <a:pt x="1885" y="944"/>
                </a:cubicBezTo>
                <a:close/>
                <a:moveTo>
                  <a:pt x="2707" y="944"/>
                </a:moveTo>
                <a:lnTo>
                  <a:pt x="2707" y="944"/>
                </a:lnTo>
                <a:cubicBezTo>
                  <a:pt x="2648" y="862"/>
                  <a:pt x="2613" y="761"/>
                  <a:pt x="2613" y="651"/>
                </a:cubicBezTo>
                <a:cubicBezTo>
                  <a:pt x="2613" y="542"/>
                  <a:pt x="2648" y="441"/>
                  <a:pt x="2707" y="358"/>
                </a:cubicBezTo>
                <a:cubicBezTo>
                  <a:pt x="2766" y="441"/>
                  <a:pt x="2800" y="542"/>
                  <a:pt x="2800" y="651"/>
                </a:cubicBezTo>
                <a:cubicBezTo>
                  <a:pt x="2800" y="761"/>
                  <a:pt x="2766" y="862"/>
                  <a:pt x="2707" y="944"/>
                </a:cubicBezTo>
                <a:close/>
                <a:moveTo>
                  <a:pt x="3117" y="0"/>
                </a:moveTo>
                <a:lnTo>
                  <a:pt x="3117" y="0"/>
                </a:lnTo>
                <a:cubicBezTo>
                  <a:pt x="2962" y="0"/>
                  <a:pt x="2819" y="54"/>
                  <a:pt x="2707" y="145"/>
                </a:cubicBezTo>
                <a:cubicBezTo>
                  <a:pt x="2594" y="54"/>
                  <a:pt x="2452" y="0"/>
                  <a:pt x="2296" y="0"/>
                </a:cubicBezTo>
                <a:cubicBezTo>
                  <a:pt x="2140" y="0"/>
                  <a:pt x="1997" y="54"/>
                  <a:pt x="1885" y="145"/>
                </a:cubicBezTo>
                <a:cubicBezTo>
                  <a:pt x="1773" y="54"/>
                  <a:pt x="1630" y="0"/>
                  <a:pt x="1474" y="0"/>
                </a:cubicBezTo>
                <a:cubicBezTo>
                  <a:pt x="1318" y="0"/>
                  <a:pt x="1175" y="54"/>
                  <a:pt x="1063" y="145"/>
                </a:cubicBezTo>
                <a:cubicBezTo>
                  <a:pt x="951" y="54"/>
                  <a:pt x="808" y="0"/>
                  <a:pt x="653" y="0"/>
                </a:cubicBezTo>
                <a:cubicBezTo>
                  <a:pt x="292" y="0"/>
                  <a:pt x="0" y="291"/>
                  <a:pt x="0" y="651"/>
                </a:cubicBezTo>
                <a:cubicBezTo>
                  <a:pt x="0" y="1011"/>
                  <a:pt x="292" y="1303"/>
                  <a:pt x="653" y="1303"/>
                </a:cubicBezTo>
                <a:cubicBezTo>
                  <a:pt x="808" y="1303"/>
                  <a:pt x="951" y="1249"/>
                  <a:pt x="1063" y="1158"/>
                </a:cubicBezTo>
                <a:cubicBezTo>
                  <a:pt x="1175" y="1249"/>
                  <a:pt x="1318" y="1303"/>
                  <a:pt x="1474" y="1303"/>
                </a:cubicBezTo>
                <a:cubicBezTo>
                  <a:pt x="1630" y="1303"/>
                  <a:pt x="1773" y="1249"/>
                  <a:pt x="1885" y="1158"/>
                </a:cubicBezTo>
                <a:cubicBezTo>
                  <a:pt x="1997" y="1249"/>
                  <a:pt x="2140" y="1303"/>
                  <a:pt x="2296" y="1303"/>
                </a:cubicBezTo>
                <a:cubicBezTo>
                  <a:pt x="2452" y="1303"/>
                  <a:pt x="2594" y="1249"/>
                  <a:pt x="2707" y="1158"/>
                </a:cubicBezTo>
                <a:cubicBezTo>
                  <a:pt x="2819" y="1249"/>
                  <a:pt x="2962" y="1303"/>
                  <a:pt x="3117" y="1303"/>
                </a:cubicBezTo>
                <a:cubicBezTo>
                  <a:pt x="3478" y="1303"/>
                  <a:pt x="3769" y="1011"/>
                  <a:pt x="3769" y="651"/>
                </a:cubicBezTo>
                <a:cubicBezTo>
                  <a:pt x="3769" y="291"/>
                  <a:pt x="3478" y="0"/>
                  <a:pt x="311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651953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 (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412717"/>
            <a:ext cx="5221288" cy="2410916"/>
          </a:xfrm>
        </p:spPr>
        <p:txBody>
          <a:bodyPr wrap="square" anchor="b">
            <a:spAutoFit/>
          </a:bodyPr>
          <a:lstStyle>
            <a:lvl1pPr marL="0" indent="0" algn="l">
              <a:lnSpc>
                <a:spcPts val="4740"/>
              </a:lnSpc>
              <a:spcBef>
                <a:spcPts val="0"/>
              </a:spcBef>
              <a:buNone/>
              <a:defRPr sz="42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Titel der Präsentation</a:t>
            </a:r>
            <a:br>
              <a:rPr lang="de-DE" noProof="0"/>
            </a:br>
            <a:r>
              <a:rPr lang="de-DE" noProof="0"/>
              <a:t>in maximal</a:t>
            </a:r>
            <a:br>
              <a:rPr lang="de-DE" noProof="0"/>
            </a:br>
            <a:r>
              <a:rPr lang="de-DE" noProof="0"/>
              <a:t>vier Zei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AE595C-2F39-2845-AC37-5AB35A4FA6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3" y="2984937"/>
            <a:ext cx="5221289" cy="251413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Ort | Datum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FBE2B16-C7C1-3E44-B78B-1408A6CFCD3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609011 w 6096000"/>
              <a:gd name="connsiteY0" fmla="*/ 4044239 h 6858000"/>
              <a:gd name="connsiteX1" fmla="*/ 1583858 w 6096000"/>
              <a:gd name="connsiteY1" fmla="*/ 5019086 h 6858000"/>
              <a:gd name="connsiteX2" fmla="*/ 609011 w 6096000"/>
              <a:gd name="connsiteY2" fmla="*/ 5993933 h 6858000"/>
              <a:gd name="connsiteX3" fmla="*/ 63965 w 6096000"/>
              <a:gd name="connsiteY3" fmla="*/ 5827445 h 6858000"/>
              <a:gd name="connsiteX4" fmla="*/ 20969 w 6096000"/>
              <a:gd name="connsiteY4" fmla="*/ 5791970 h 6858000"/>
              <a:gd name="connsiteX5" fmla="*/ 67695 w 6096000"/>
              <a:gd name="connsiteY5" fmla="*/ 5729485 h 6858000"/>
              <a:gd name="connsiteX6" fmla="*/ 284691 w 6096000"/>
              <a:gd name="connsiteY6" fmla="*/ 5019086 h 6858000"/>
              <a:gd name="connsiteX7" fmla="*/ 67695 w 6096000"/>
              <a:gd name="connsiteY7" fmla="*/ 4308688 h 6858000"/>
              <a:gd name="connsiteX8" fmla="*/ 20969 w 6096000"/>
              <a:gd name="connsiteY8" fmla="*/ 4246203 h 6858000"/>
              <a:gd name="connsiteX9" fmla="*/ 63965 w 6096000"/>
              <a:gd name="connsiteY9" fmla="*/ 4210728 h 6858000"/>
              <a:gd name="connsiteX10" fmla="*/ 609011 w 6096000"/>
              <a:gd name="connsiteY10" fmla="*/ 4044239 h 6858000"/>
              <a:gd name="connsiteX11" fmla="*/ 0 w 6096000"/>
              <a:gd name="connsiteY11" fmla="*/ 0 h 6858000"/>
              <a:gd name="connsiteX12" fmla="*/ 6096000 w 6096000"/>
              <a:gd name="connsiteY12" fmla="*/ 0 h 6858000"/>
              <a:gd name="connsiteX13" fmla="*/ 6096000 w 6096000"/>
              <a:gd name="connsiteY13" fmla="*/ 6858000 h 6858000"/>
              <a:gd name="connsiteX14" fmla="*/ 0 w 6096000"/>
              <a:gd name="connsiteY14" fmla="*/ 6858000 h 6858000"/>
              <a:gd name="connsiteX15" fmla="*/ 0 w 6096000"/>
              <a:gd name="connsiteY15" fmla="*/ 6130954 h 6858000"/>
              <a:gd name="connsiteX16" fmla="*/ 58159 w 6096000"/>
              <a:gd name="connsiteY16" fmla="*/ 6164382 h 6858000"/>
              <a:gd name="connsiteX17" fmla="*/ 609011 w 6096000"/>
              <a:gd name="connsiteY17" fmla="*/ 6289675 h 6858000"/>
              <a:gd name="connsiteX18" fmla="*/ 1879600 w 6096000"/>
              <a:gd name="connsiteY18" fmla="*/ 5019086 h 6858000"/>
              <a:gd name="connsiteX19" fmla="*/ 609011 w 6096000"/>
              <a:gd name="connsiteY19" fmla="*/ 3748497 h 6858000"/>
              <a:gd name="connsiteX20" fmla="*/ 58159 w 6096000"/>
              <a:gd name="connsiteY20" fmla="*/ 3873791 h 6858000"/>
              <a:gd name="connsiteX21" fmla="*/ 0 w 6096000"/>
              <a:gd name="connsiteY21" fmla="*/ 39072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0" h="6858000">
                <a:moveTo>
                  <a:pt x="609011" y="4044239"/>
                </a:moveTo>
                <a:cubicBezTo>
                  <a:pt x="1147404" y="4044239"/>
                  <a:pt x="1583858" y="4480693"/>
                  <a:pt x="1583858" y="5019086"/>
                </a:cubicBezTo>
                <a:cubicBezTo>
                  <a:pt x="1583858" y="5557479"/>
                  <a:pt x="1147404" y="5993933"/>
                  <a:pt x="609011" y="5993933"/>
                </a:cubicBezTo>
                <a:cubicBezTo>
                  <a:pt x="407114" y="5993933"/>
                  <a:pt x="219552" y="5932557"/>
                  <a:pt x="63965" y="5827445"/>
                </a:cubicBezTo>
                <a:lnTo>
                  <a:pt x="20969" y="5791970"/>
                </a:lnTo>
                <a:lnTo>
                  <a:pt x="67695" y="5729485"/>
                </a:lnTo>
                <a:cubicBezTo>
                  <a:pt x="204695" y="5526697"/>
                  <a:pt x="284691" y="5282234"/>
                  <a:pt x="284691" y="5019086"/>
                </a:cubicBezTo>
                <a:cubicBezTo>
                  <a:pt x="284691" y="4755939"/>
                  <a:pt x="204695" y="4511475"/>
                  <a:pt x="67695" y="4308688"/>
                </a:cubicBezTo>
                <a:lnTo>
                  <a:pt x="20969" y="4246203"/>
                </a:lnTo>
                <a:lnTo>
                  <a:pt x="63965" y="4210728"/>
                </a:lnTo>
                <a:cubicBezTo>
                  <a:pt x="219552" y="4105616"/>
                  <a:pt x="407114" y="4044239"/>
                  <a:pt x="609011" y="4044239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lnTo>
                  <a:pt x="0" y="6130954"/>
                </a:lnTo>
                <a:lnTo>
                  <a:pt x="58159" y="6164382"/>
                </a:lnTo>
                <a:cubicBezTo>
                  <a:pt x="224800" y="6244678"/>
                  <a:pt x="411651" y="6289675"/>
                  <a:pt x="609011" y="6289675"/>
                </a:cubicBezTo>
                <a:cubicBezTo>
                  <a:pt x="1310738" y="6289675"/>
                  <a:pt x="1879600" y="5720813"/>
                  <a:pt x="1879600" y="5019086"/>
                </a:cubicBezTo>
                <a:cubicBezTo>
                  <a:pt x="1879600" y="4317359"/>
                  <a:pt x="1310738" y="3748497"/>
                  <a:pt x="609011" y="3748497"/>
                </a:cubicBezTo>
                <a:cubicBezTo>
                  <a:pt x="411651" y="3748497"/>
                  <a:pt x="224800" y="3793495"/>
                  <a:pt x="58159" y="3873791"/>
                </a:cubicBezTo>
                <a:lnTo>
                  <a:pt x="0" y="3907219"/>
                </a:ln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wrap="square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10" name="Freihandform 9">
            <a:extLst>
              <a:ext uri="{FF2B5EF4-FFF2-40B4-BE49-F238E27FC236}">
                <a16:creationId xmlns:a16="http://schemas.microsoft.com/office/drawing/2014/main" id="{2B6AAC4E-F3C5-C745-BF1F-6C63F41FC8FE}"/>
              </a:ext>
            </a:extLst>
          </p:cNvPr>
          <p:cNvSpPr/>
          <p:nvPr userDrawn="1"/>
        </p:nvSpPr>
        <p:spPr>
          <a:xfrm>
            <a:off x="649697" y="3748497"/>
            <a:ext cx="7325903" cy="2541178"/>
          </a:xfrm>
          <a:custGeom>
            <a:avLst/>
            <a:gdLst>
              <a:gd name="connsiteX0" fmla="*/ 5257860 w 7325903"/>
              <a:gd name="connsiteY0" fmla="*/ 712327 h 2541178"/>
              <a:gd name="connsiteX1" fmla="*/ 5246956 w 7325903"/>
              <a:gd name="connsiteY1" fmla="*/ 725543 h 2541178"/>
              <a:gd name="connsiteX2" fmla="*/ 5080467 w 7325903"/>
              <a:gd name="connsiteY2" fmla="*/ 1270589 h 2541178"/>
              <a:gd name="connsiteX3" fmla="*/ 5246956 w 7325903"/>
              <a:gd name="connsiteY3" fmla="*/ 1815635 h 2541178"/>
              <a:gd name="connsiteX4" fmla="*/ 5257860 w 7325903"/>
              <a:gd name="connsiteY4" fmla="*/ 1828851 h 2541178"/>
              <a:gd name="connsiteX5" fmla="*/ 5268764 w 7325903"/>
              <a:gd name="connsiteY5" fmla="*/ 1815635 h 2541178"/>
              <a:gd name="connsiteX6" fmla="*/ 5435252 w 7325903"/>
              <a:gd name="connsiteY6" fmla="*/ 1270589 h 2541178"/>
              <a:gd name="connsiteX7" fmla="*/ 5268764 w 7325903"/>
              <a:gd name="connsiteY7" fmla="*/ 725543 h 2541178"/>
              <a:gd name="connsiteX8" fmla="*/ 3662951 w 7325903"/>
              <a:gd name="connsiteY8" fmla="*/ 712327 h 2541178"/>
              <a:gd name="connsiteX9" fmla="*/ 3652047 w 7325903"/>
              <a:gd name="connsiteY9" fmla="*/ 725543 h 2541178"/>
              <a:gd name="connsiteX10" fmla="*/ 3485558 w 7325903"/>
              <a:gd name="connsiteY10" fmla="*/ 1270589 h 2541178"/>
              <a:gd name="connsiteX11" fmla="*/ 3652047 w 7325903"/>
              <a:gd name="connsiteY11" fmla="*/ 1815635 h 2541178"/>
              <a:gd name="connsiteX12" fmla="*/ 3662951 w 7325903"/>
              <a:gd name="connsiteY12" fmla="*/ 1828852 h 2541178"/>
              <a:gd name="connsiteX13" fmla="*/ 3673856 w 7325903"/>
              <a:gd name="connsiteY13" fmla="*/ 1815635 h 2541178"/>
              <a:gd name="connsiteX14" fmla="*/ 3840344 w 7325903"/>
              <a:gd name="connsiteY14" fmla="*/ 1270589 h 2541178"/>
              <a:gd name="connsiteX15" fmla="*/ 3673856 w 7325903"/>
              <a:gd name="connsiteY15" fmla="*/ 725543 h 2541178"/>
              <a:gd name="connsiteX16" fmla="*/ 2068043 w 7325903"/>
              <a:gd name="connsiteY16" fmla="*/ 712327 h 2541178"/>
              <a:gd name="connsiteX17" fmla="*/ 2057139 w 7325903"/>
              <a:gd name="connsiteY17" fmla="*/ 725543 h 2541178"/>
              <a:gd name="connsiteX18" fmla="*/ 1890650 w 7325903"/>
              <a:gd name="connsiteY18" fmla="*/ 1270589 h 2541178"/>
              <a:gd name="connsiteX19" fmla="*/ 2057139 w 7325903"/>
              <a:gd name="connsiteY19" fmla="*/ 1815635 h 2541178"/>
              <a:gd name="connsiteX20" fmla="*/ 2068043 w 7325903"/>
              <a:gd name="connsiteY20" fmla="*/ 1828852 h 2541178"/>
              <a:gd name="connsiteX21" fmla="*/ 2078948 w 7325903"/>
              <a:gd name="connsiteY21" fmla="*/ 1815635 h 2541178"/>
              <a:gd name="connsiteX22" fmla="*/ 2245436 w 7325903"/>
              <a:gd name="connsiteY22" fmla="*/ 1270589 h 2541178"/>
              <a:gd name="connsiteX23" fmla="*/ 2078948 w 7325903"/>
              <a:gd name="connsiteY23" fmla="*/ 725543 h 2541178"/>
              <a:gd name="connsiteX24" fmla="*/ 6055314 w 7325903"/>
              <a:gd name="connsiteY24" fmla="*/ 295742 h 2541178"/>
              <a:gd name="connsiteX25" fmla="*/ 5510268 w 7325903"/>
              <a:gd name="connsiteY25" fmla="*/ 462231 h 2541178"/>
              <a:gd name="connsiteX26" fmla="*/ 5467272 w 7325903"/>
              <a:gd name="connsiteY26" fmla="*/ 497706 h 2541178"/>
              <a:gd name="connsiteX27" fmla="*/ 5513998 w 7325903"/>
              <a:gd name="connsiteY27" fmla="*/ 560191 h 2541178"/>
              <a:gd name="connsiteX28" fmla="*/ 5730994 w 7325903"/>
              <a:gd name="connsiteY28" fmla="*/ 1270589 h 2541178"/>
              <a:gd name="connsiteX29" fmla="*/ 5513998 w 7325903"/>
              <a:gd name="connsiteY29" fmla="*/ 1980988 h 2541178"/>
              <a:gd name="connsiteX30" fmla="*/ 5467272 w 7325903"/>
              <a:gd name="connsiteY30" fmla="*/ 2043473 h 2541178"/>
              <a:gd name="connsiteX31" fmla="*/ 5510268 w 7325903"/>
              <a:gd name="connsiteY31" fmla="*/ 2078948 h 2541178"/>
              <a:gd name="connsiteX32" fmla="*/ 6055314 w 7325903"/>
              <a:gd name="connsiteY32" fmla="*/ 2245436 h 2541178"/>
              <a:gd name="connsiteX33" fmla="*/ 7030161 w 7325903"/>
              <a:gd name="connsiteY33" fmla="*/ 1270589 h 2541178"/>
              <a:gd name="connsiteX34" fmla="*/ 6055314 w 7325903"/>
              <a:gd name="connsiteY34" fmla="*/ 295742 h 2541178"/>
              <a:gd name="connsiteX35" fmla="*/ 4460405 w 7325903"/>
              <a:gd name="connsiteY35" fmla="*/ 295742 h 2541178"/>
              <a:gd name="connsiteX36" fmla="*/ 3915359 w 7325903"/>
              <a:gd name="connsiteY36" fmla="*/ 462231 h 2541178"/>
              <a:gd name="connsiteX37" fmla="*/ 3872364 w 7325903"/>
              <a:gd name="connsiteY37" fmla="*/ 497705 h 2541178"/>
              <a:gd name="connsiteX38" fmla="*/ 3919090 w 7325903"/>
              <a:gd name="connsiteY38" fmla="*/ 560191 h 2541178"/>
              <a:gd name="connsiteX39" fmla="*/ 4136086 w 7325903"/>
              <a:gd name="connsiteY39" fmla="*/ 1270589 h 2541178"/>
              <a:gd name="connsiteX40" fmla="*/ 3919090 w 7325903"/>
              <a:gd name="connsiteY40" fmla="*/ 1980988 h 2541178"/>
              <a:gd name="connsiteX41" fmla="*/ 3872364 w 7325903"/>
              <a:gd name="connsiteY41" fmla="*/ 2043473 h 2541178"/>
              <a:gd name="connsiteX42" fmla="*/ 3915359 w 7325903"/>
              <a:gd name="connsiteY42" fmla="*/ 2078948 h 2541178"/>
              <a:gd name="connsiteX43" fmla="*/ 4460405 w 7325903"/>
              <a:gd name="connsiteY43" fmla="*/ 2245436 h 2541178"/>
              <a:gd name="connsiteX44" fmla="*/ 5005451 w 7325903"/>
              <a:gd name="connsiteY44" fmla="*/ 2078948 h 2541178"/>
              <a:gd name="connsiteX45" fmla="*/ 5048447 w 7325903"/>
              <a:gd name="connsiteY45" fmla="*/ 2043473 h 2541178"/>
              <a:gd name="connsiteX46" fmla="*/ 5001722 w 7325903"/>
              <a:gd name="connsiteY46" fmla="*/ 1980988 h 2541178"/>
              <a:gd name="connsiteX47" fmla="*/ 4784725 w 7325903"/>
              <a:gd name="connsiteY47" fmla="*/ 1270589 h 2541178"/>
              <a:gd name="connsiteX48" fmla="*/ 5001722 w 7325903"/>
              <a:gd name="connsiteY48" fmla="*/ 560191 h 2541178"/>
              <a:gd name="connsiteX49" fmla="*/ 5048447 w 7325903"/>
              <a:gd name="connsiteY49" fmla="*/ 497706 h 2541178"/>
              <a:gd name="connsiteX50" fmla="*/ 5005451 w 7325903"/>
              <a:gd name="connsiteY50" fmla="*/ 462231 h 2541178"/>
              <a:gd name="connsiteX51" fmla="*/ 4460405 w 7325903"/>
              <a:gd name="connsiteY51" fmla="*/ 295742 h 2541178"/>
              <a:gd name="connsiteX52" fmla="*/ 2865497 w 7325903"/>
              <a:gd name="connsiteY52" fmla="*/ 295742 h 2541178"/>
              <a:gd name="connsiteX53" fmla="*/ 2320451 w 7325903"/>
              <a:gd name="connsiteY53" fmla="*/ 462231 h 2541178"/>
              <a:gd name="connsiteX54" fmla="*/ 2277456 w 7325903"/>
              <a:gd name="connsiteY54" fmla="*/ 497705 h 2541178"/>
              <a:gd name="connsiteX55" fmla="*/ 2324182 w 7325903"/>
              <a:gd name="connsiteY55" fmla="*/ 560191 h 2541178"/>
              <a:gd name="connsiteX56" fmla="*/ 2541178 w 7325903"/>
              <a:gd name="connsiteY56" fmla="*/ 1270589 h 2541178"/>
              <a:gd name="connsiteX57" fmla="*/ 2324182 w 7325903"/>
              <a:gd name="connsiteY57" fmla="*/ 1980988 h 2541178"/>
              <a:gd name="connsiteX58" fmla="*/ 2277456 w 7325903"/>
              <a:gd name="connsiteY58" fmla="*/ 2043473 h 2541178"/>
              <a:gd name="connsiteX59" fmla="*/ 2320451 w 7325903"/>
              <a:gd name="connsiteY59" fmla="*/ 2078948 h 2541178"/>
              <a:gd name="connsiteX60" fmla="*/ 2865497 w 7325903"/>
              <a:gd name="connsiteY60" fmla="*/ 2245436 h 2541178"/>
              <a:gd name="connsiteX61" fmla="*/ 3410544 w 7325903"/>
              <a:gd name="connsiteY61" fmla="*/ 2078948 h 2541178"/>
              <a:gd name="connsiteX62" fmla="*/ 3453539 w 7325903"/>
              <a:gd name="connsiteY62" fmla="*/ 2043473 h 2541178"/>
              <a:gd name="connsiteX63" fmla="*/ 3406813 w 7325903"/>
              <a:gd name="connsiteY63" fmla="*/ 1980988 h 2541178"/>
              <a:gd name="connsiteX64" fmla="*/ 3189816 w 7325903"/>
              <a:gd name="connsiteY64" fmla="*/ 1270589 h 2541178"/>
              <a:gd name="connsiteX65" fmla="*/ 3406813 w 7325903"/>
              <a:gd name="connsiteY65" fmla="*/ 560191 h 2541178"/>
              <a:gd name="connsiteX66" fmla="*/ 3453539 w 7325903"/>
              <a:gd name="connsiteY66" fmla="*/ 497705 h 2541178"/>
              <a:gd name="connsiteX67" fmla="*/ 3410544 w 7325903"/>
              <a:gd name="connsiteY67" fmla="*/ 462231 h 2541178"/>
              <a:gd name="connsiteX68" fmla="*/ 2865497 w 7325903"/>
              <a:gd name="connsiteY68" fmla="*/ 295742 h 2541178"/>
              <a:gd name="connsiteX69" fmla="*/ 1270589 w 7325903"/>
              <a:gd name="connsiteY69" fmla="*/ 295742 h 2541178"/>
              <a:gd name="connsiteX70" fmla="*/ 295742 w 7325903"/>
              <a:gd name="connsiteY70" fmla="*/ 1270589 h 2541178"/>
              <a:gd name="connsiteX71" fmla="*/ 1270589 w 7325903"/>
              <a:gd name="connsiteY71" fmla="*/ 2245436 h 2541178"/>
              <a:gd name="connsiteX72" fmla="*/ 1815635 w 7325903"/>
              <a:gd name="connsiteY72" fmla="*/ 2078948 h 2541178"/>
              <a:gd name="connsiteX73" fmla="*/ 1858631 w 7325903"/>
              <a:gd name="connsiteY73" fmla="*/ 2043473 h 2541178"/>
              <a:gd name="connsiteX74" fmla="*/ 1811905 w 7325903"/>
              <a:gd name="connsiteY74" fmla="*/ 1980988 h 2541178"/>
              <a:gd name="connsiteX75" fmla="*/ 1594908 w 7325903"/>
              <a:gd name="connsiteY75" fmla="*/ 1270589 h 2541178"/>
              <a:gd name="connsiteX76" fmla="*/ 1811905 w 7325903"/>
              <a:gd name="connsiteY76" fmla="*/ 560191 h 2541178"/>
              <a:gd name="connsiteX77" fmla="*/ 1858631 w 7325903"/>
              <a:gd name="connsiteY77" fmla="*/ 497705 h 2541178"/>
              <a:gd name="connsiteX78" fmla="*/ 1815635 w 7325903"/>
              <a:gd name="connsiteY78" fmla="*/ 462231 h 2541178"/>
              <a:gd name="connsiteX79" fmla="*/ 1270589 w 7325903"/>
              <a:gd name="connsiteY79" fmla="*/ 295742 h 2541178"/>
              <a:gd name="connsiteX80" fmla="*/ 1270589 w 7325903"/>
              <a:gd name="connsiteY80" fmla="*/ 0 h 2541178"/>
              <a:gd name="connsiteX81" fmla="*/ 1980988 w 7325903"/>
              <a:gd name="connsiteY81" fmla="*/ 216997 h 2541178"/>
              <a:gd name="connsiteX82" fmla="*/ 2068043 w 7325903"/>
              <a:gd name="connsiteY82" fmla="*/ 282096 h 2541178"/>
              <a:gd name="connsiteX83" fmla="*/ 2155099 w 7325903"/>
              <a:gd name="connsiteY83" fmla="*/ 216997 h 2541178"/>
              <a:gd name="connsiteX84" fmla="*/ 2865497 w 7325903"/>
              <a:gd name="connsiteY84" fmla="*/ 0 h 2541178"/>
              <a:gd name="connsiteX85" fmla="*/ 3575896 w 7325903"/>
              <a:gd name="connsiteY85" fmla="*/ 216997 h 2541178"/>
              <a:gd name="connsiteX86" fmla="*/ 3662951 w 7325903"/>
              <a:gd name="connsiteY86" fmla="*/ 282096 h 2541178"/>
              <a:gd name="connsiteX87" fmla="*/ 3750007 w 7325903"/>
              <a:gd name="connsiteY87" fmla="*/ 216997 h 2541178"/>
              <a:gd name="connsiteX88" fmla="*/ 4460405 w 7325903"/>
              <a:gd name="connsiteY88" fmla="*/ 0 h 2541178"/>
              <a:gd name="connsiteX89" fmla="*/ 5170804 w 7325903"/>
              <a:gd name="connsiteY89" fmla="*/ 216997 h 2541178"/>
              <a:gd name="connsiteX90" fmla="*/ 5257860 w 7325903"/>
              <a:gd name="connsiteY90" fmla="*/ 282096 h 2541178"/>
              <a:gd name="connsiteX91" fmla="*/ 5344916 w 7325903"/>
              <a:gd name="connsiteY91" fmla="*/ 216997 h 2541178"/>
              <a:gd name="connsiteX92" fmla="*/ 6055314 w 7325903"/>
              <a:gd name="connsiteY92" fmla="*/ 0 h 2541178"/>
              <a:gd name="connsiteX93" fmla="*/ 7325903 w 7325903"/>
              <a:gd name="connsiteY93" fmla="*/ 1270589 h 2541178"/>
              <a:gd name="connsiteX94" fmla="*/ 6055314 w 7325903"/>
              <a:gd name="connsiteY94" fmla="*/ 2541178 h 2541178"/>
              <a:gd name="connsiteX95" fmla="*/ 5344916 w 7325903"/>
              <a:gd name="connsiteY95" fmla="*/ 2324182 h 2541178"/>
              <a:gd name="connsiteX96" fmla="*/ 5257860 w 7325903"/>
              <a:gd name="connsiteY96" fmla="*/ 2259082 h 2541178"/>
              <a:gd name="connsiteX97" fmla="*/ 5170804 w 7325903"/>
              <a:gd name="connsiteY97" fmla="*/ 2324182 h 2541178"/>
              <a:gd name="connsiteX98" fmla="*/ 4460405 w 7325903"/>
              <a:gd name="connsiteY98" fmla="*/ 2541178 h 2541178"/>
              <a:gd name="connsiteX99" fmla="*/ 3750007 w 7325903"/>
              <a:gd name="connsiteY99" fmla="*/ 2324182 h 2541178"/>
              <a:gd name="connsiteX100" fmla="*/ 3662951 w 7325903"/>
              <a:gd name="connsiteY100" fmla="*/ 2259083 h 2541178"/>
              <a:gd name="connsiteX101" fmla="*/ 3575896 w 7325903"/>
              <a:gd name="connsiteY101" fmla="*/ 2324182 h 2541178"/>
              <a:gd name="connsiteX102" fmla="*/ 2865497 w 7325903"/>
              <a:gd name="connsiteY102" fmla="*/ 2541178 h 2541178"/>
              <a:gd name="connsiteX103" fmla="*/ 2155099 w 7325903"/>
              <a:gd name="connsiteY103" fmla="*/ 2324182 h 2541178"/>
              <a:gd name="connsiteX104" fmla="*/ 2068043 w 7325903"/>
              <a:gd name="connsiteY104" fmla="*/ 2259083 h 2541178"/>
              <a:gd name="connsiteX105" fmla="*/ 1980988 w 7325903"/>
              <a:gd name="connsiteY105" fmla="*/ 2324182 h 2541178"/>
              <a:gd name="connsiteX106" fmla="*/ 1270589 w 7325903"/>
              <a:gd name="connsiteY106" fmla="*/ 2541178 h 2541178"/>
              <a:gd name="connsiteX107" fmla="*/ 0 w 7325903"/>
              <a:gd name="connsiteY107" fmla="*/ 1270589 h 2541178"/>
              <a:gd name="connsiteX108" fmla="*/ 1270589 w 7325903"/>
              <a:gd name="connsiteY108" fmla="*/ 0 h 2541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</a:cxnLst>
            <a:rect l="l" t="t" r="r" b="b"/>
            <a:pathLst>
              <a:path w="7325903" h="2541178">
                <a:moveTo>
                  <a:pt x="5257860" y="712327"/>
                </a:moveTo>
                <a:lnTo>
                  <a:pt x="5246956" y="725543"/>
                </a:lnTo>
                <a:cubicBezTo>
                  <a:pt x="5141844" y="881130"/>
                  <a:pt x="5080467" y="1068692"/>
                  <a:pt x="5080467" y="1270589"/>
                </a:cubicBezTo>
                <a:cubicBezTo>
                  <a:pt x="5080467" y="1472487"/>
                  <a:pt x="5141844" y="1660049"/>
                  <a:pt x="5246956" y="1815635"/>
                </a:cubicBezTo>
                <a:lnTo>
                  <a:pt x="5257860" y="1828851"/>
                </a:lnTo>
                <a:lnTo>
                  <a:pt x="5268764" y="1815635"/>
                </a:lnTo>
                <a:cubicBezTo>
                  <a:pt x="5373876" y="1660049"/>
                  <a:pt x="5435252" y="1472487"/>
                  <a:pt x="5435252" y="1270589"/>
                </a:cubicBezTo>
                <a:cubicBezTo>
                  <a:pt x="5435252" y="1068692"/>
                  <a:pt x="5373876" y="881130"/>
                  <a:pt x="5268764" y="725543"/>
                </a:cubicBezTo>
                <a:close/>
                <a:moveTo>
                  <a:pt x="3662951" y="712327"/>
                </a:moveTo>
                <a:lnTo>
                  <a:pt x="3652047" y="725543"/>
                </a:lnTo>
                <a:cubicBezTo>
                  <a:pt x="3546935" y="881130"/>
                  <a:pt x="3485558" y="1068692"/>
                  <a:pt x="3485558" y="1270589"/>
                </a:cubicBezTo>
                <a:cubicBezTo>
                  <a:pt x="3485558" y="1472487"/>
                  <a:pt x="3546935" y="1660049"/>
                  <a:pt x="3652047" y="1815635"/>
                </a:cubicBezTo>
                <a:lnTo>
                  <a:pt x="3662951" y="1828852"/>
                </a:lnTo>
                <a:lnTo>
                  <a:pt x="3673856" y="1815635"/>
                </a:lnTo>
                <a:cubicBezTo>
                  <a:pt x="3778968" y="1660049"/>
                  <a:pt x="3840344" y="1472487"/>
                  <a:pt x="3840344" y="1270589"/>
                </a:cubicBezTo>
                <a:cubicBezTo>
                  <a:pt x="3840344" y="1068692"/>
                  <a:pt x="3778968" y="881130"/>
                  <a:pt x="3673856" y="725543"/>
                </a:cubicBezTo>
                <a:close/>
                <a:moveTo>
                  <a:pt x="2068043" y="712327"/>
                </a:moveTo>
                <a:lnTo>
                  <a:pt x="2057139" y="725543"/>
                </a:lnTo>
                <a:cubicBezTo>
                  <a:pt x="1952027" y="881130"/>
                  <a:pt x="1890650" y="1068692"/>
                  <a:pt x="1890650" y="1270589"/>
                </a:cubicBezTo>
                <a:cubicBezTo>
                  <a:pt x="1890650" y="1472487"/>
                  <a:pt x="1952027" y="1660049"/>
                  <a:pt x="2057139" y="1815635"/>
                </a:cubicBezTo>
                <a:lnTo>
                  <a:pt x="2068043" y="1828852"/>
                </a:lnTo>
                <a:lnTo>
                  <a:pt x="2078948" y="1815635"/>
                </a:lnTo>
                <a:cubicBezTo>
                  <a:pt x="2184060" y="1660049"/>
                  <a:pt x="2245436" y="1472487"/>
                  <a:pt x="2245436" y="1270589"/>
                </a:cubicBezTo>
                <a:cubicBezTo>
                  <a:pt x="2245436" y="1068692"/>
                  <a:pt x="2184060" y="881130"/>
                  <a:pt x="2078948" y="725543"/>
                </a:cubicBezTo>
                <a:close/>
                <a:moveTo>
                  <a:pt x="6055314" y="295742"/>
                </a:moveTo>
                <a:cubicBezTo>
                  <a:pt x="5853417" y="295742"/>
                  <a:pt x="5665855" y="357119"/>
                  <a:pt x="5510268" y="462231"/>
                </a:cubicBezTo>
                <a:lnTo>
                  <a:pt x="5467272" y="497706"/>
                </a:lnTo>
                <a:lnTo>
                  <a:pt x="5513998" y="560191"/>
                </a:lnTo>
                <a:cubicBezTo>
                  <a:pt x="5650998" y="762978"/>
                  <a:pt x="5730994" y="1007442"/>
                  <a:pt x="5730994" y="1270589"/>
                </a:cubicBezTo>
                <a:cubicBezTo>
                  <a:pt x="5730994" y="1533737"/>
                  <a:pt x="5650998" y="1778200"/>
                  <a:pt x="5513998" y="1980988"/>
                </a:cubicBezTo>
                <a:lnTo>
                  <a:pt x="5467272" y="2043473"/>
                </a:lnTo>
                <a:lnTo>
                  <a:pt x="5510268" y="2078948"/>
                </a:lnTo>
                <a:cubicBezTo>
                  <a:pt x="5665855" y="2184060"/>
                  <a:pt x="5853417" y="2245436"/>
                  <a:pt x="6055314" y="2245436"/>
                </a:cubicBezTo>
                <a:cubicBezTo>
                  <a:pt x="6593707" y="2245436"/>
                  <a:pt x="7030161" y="1808982"/>
                  <a:pt x="7030161" y="1270589"/>
                </a:cubicBezTo>
                <a:cubicBezTo>
                  <a:pt x="7030161" y="732196"/>
                  <a:pt x="6593707" y="295742"/>
                  <a:pt x="6055314" y="295742"/>
                </a:cubicBezTo>
                <a:close/>
                <a:moveTo>
                  <a:pt x="4460405" y="295742"/>
                </a:moveTo>
                <a:cubicBezTo>
                  <a:pt x="4258508" y="295742"/>
                  <a:pt x="4070946" y="357119"/>
                  <a:pt x="3915359" y="462231"/>
                </a:cubicBezTo>
                <a:lnTo>
                  <a:pt x="3872364" y="497705"/>
                </a:lnTo>
                <a:lnTo>
                  <a:pt x="3919090" y="560191"/>
                </a:lnTo>
                <a:cubicBezTo>
                  <a:pt x="4056090" y="762978"/>
                  <a:pt x="4136086" y="1007442"/>
                  <a:pt x="4136086" y="1270589"/>
                </a:cubicBezTo>
                <a:cubicBezTo>
                  <a:pt x="4136086" y="1533737"/>
                  <a:pt x="4056090" y="1778200"/>
                  <a:pt x="3919090" y="1980988"/>
                </a:cubicBezTo>
                <a:lnTo>
                  <a:pt x="3872364" y="2043473"/>
                </a:lnTo>
                <a:lnTo>
                  <a:pt x="3915359" y="2078948"/>
                </a:lnTo>
                <a:cubicBezTo>
                  <a:pt x="4070946" y="2184060"/>
                  <a:pt x="4258508" y="2245436"/>
                  <a:pt x="4460405" y="2245436"/>
                </a:cubicBezTo>
                <a:cubicBezTo>
                  <a:pt x="4662303" y="2245436"/>
                  <a:pt x="4849865" y="2184060"/>
                  <a:pt x="5005451" y="2078948"/>
                </a:cubicBezTo>
                <a:lnTo>
                  <a:pt x="5048447" y="2043473"/>
                </a:lnTo>
                <a:lnTo>
                  <a:pt x="5001722" y="1980988"/>
                </a:lnTo>
                <a:cubicBezTo>
                  <a:pt x="4864721" y="1778200"/>
                  <a:pt x="4784725" y="1533737"/>
                  <a:pt x="4784725" y="1270589"/>
                </a:cubicBezTo>
                <a:cubicBezTo>
                  <a:pt x="4784725" y="1007442"/>
                  <a:pt x="4864721" y="762978"/>
                  <a:pt x="5001722" y="560191"/>
                </a:cubicBezTo>
                <a:lnTo>
                  <a:pt x="5048447" y="497706"/>
                </a:lnTo>
                <a:lnTo>
                  <a:pt x="5005451" y="462231"/>
                </a:lnTo>
                <a:cubicBezTo>
                  <a:pt x="4849865" y="357119"/>
                  <a:pt x="4662303" y="295742"/>
                  <a:pt x="4460405" y="295742"/>
                </a:cubicBezTo>
                <a:close/>
                <a:moveTo>
                  <a:pt x="2865497" y="295742"/>
                </a:moveTo>
                <a:cubicBezTo>
                  <a:pt x="2663600" y="295742"/>
                  <a:pt x="2476038" y="357119"/>
                  <a:pt x="2320451" y="462231"/>
                </a:cubicBezTo>
                <a:lnTo>
                  <a:pt x="2277456" y="497705"/>
                </a:lnTo>
                <a:lnTo>
                  <a:pt x="2324182" y="560191"/>
                </a:lnTo>
                <a:cubicBezTo>
                  <a:pt x="2461182" y="762978"/>
                  <a:pt x="2541178" y="1007442"/>
                  <a:pt x="2541178" y="1270589"/>
                </a:cubicBezTo>
                <a:cubicBezTo>
                  <a:pt x="2541178" y="1533737"/>
                  <a:pt x="2461182" y="1778200"/>
                  <a:pt x="2324182" y="1980988"/>
                </a:cubicBezTo>
                <a:lnTo>
                  <a:pt x="2277456" y="2043473"/>
                </a:lnTo>
                <a:lnTo>
                  <a:pt x="2320451" y="2078948"/>
                </a:lnTo>
                <a:cubicBezTo>
                  <a:pt x="2476038" y="2184060"/>
                  <a:pt x="2663600" y="2245436"/>
                  <a:pt x="2865497" y="2245436"/>
                </a:cubicBezTo>
                <a:cubicBezTo>
                  <a:pt x="3067395" y="2245436"/>
                  <a:pt x="3254957" y="2184060"/>
                  <a:pt x="3410544" y="2078948"/>
                </a:cubicBezTo>
                <a:lnTo>
                  <a:pt x="3453539" y="2043473"/>
                </a:lnTo>
                <a:lnTo>
                  <a:pt x="3406813" y="1980988"/>
                </a:lnTo>
                <a:cubicBezTo>
                  <a:pt x="3269813" y="1778200"/>
                  <a:pt x="3189816" y="1533737"/>
                  <a:pt x="3189816" y="1270589"/>
                </a:cubicBezTo>
                <a:cubicBezTo>
                  <a:pt x="3189816" y="1007442"/>
                  <a:pt x="3269813" y="762978"/>
                  <a:pt x="3406813" y="560191"/>
                </a:cubicBezTo>
                <a:lnTo>
                  <a:pt x="3453539" y="497705"/>
                </a:lnTo>
                <a:lnTo>
                  <a:pt x="3410544" y="462231"/>
                </a:lnTo>
                <a:cubicBezTo>
                  <a:pt x="3254957" y="357119"/>
                  <a:pt x="3067395" y="295742"/>
                  <a:pt x="2865497" y="295742"/>
                </a:cubicBezTo>
                <a:close/>
                <a:moveTo>
                  <a:pt x="1270589" y="295742"/>
                </a:moveTo>
                <a:cubicBezTo>
                  <a:pt x="732196" y="295742"/>
                  <a:pt x="295742" y="732196"/>
                  <a:pt x="295742" y="1270589"/>
                </a:cubicBezTo>
                <a:cubicBezTo>
                  <a:pt x="295742" y="1808982"/>
                  <a:pt x="732196" y="2245436"/>
                  <a:pt x="1270589" y="2245436"/>
                </a:cubicBezTo>
                <a:cubicBezTo>
                  <a:pt x="1472487" y="2245436"/>
                  <a:pt x="1660049" y="2184060"/>
                  <a:pt x="1815635" y="2078948"/>
                </a:cubicBezTo>
                <a:lnTo>
                  <a:pt x="1858631" y="2043473"/>
                </a:lnTo>
                <a:lnTo>
                  <a:pt x="1811905" y="1980988"/>
                </a:lnTo>
                <a:cubicBezTo>
                  <a:pt x="1674904" y="1778200"/>
                  <a:pt x="1594908" y="1533737"/>
                  <a:pt x="1594908" y="1270589"/>
                </a:cubicBezTo>
                <a:cubicBezTo>
                  <a:pt x="1594908" y="1007442"/>
                  <a:pt x="1674904" y="762978"/>
                  <a:pt x="1811905" y="560191"/>
                </a:cubicBezTo>
                <a:lnTo>
                  <a:pt x="1858631" y="497705"/>
                </a:lnTo>
                <a:lnTo>
                  <a:pt x="1815635" y="462231"/>
                </a:lnTo>
                <a:cubicBezTo>
                  <a:pt x="1660049" y="357119"/>
                  <a:pt x="1472487" y="295742"/>
                  <a:pt x="1270589" y="295742"/>
                </a:cubicBezTo>
                <a:close/>
                <a:moveTo>
                  <a:pt x="1270589" y="0"/>
                </a:moveTo>
                <a:cubicBezTo>
                  <a:pt x="1533737" y="0"/>
                  <a:pt x="1778200" y="79996"/>
                  <a:pt x="1980988" y="216997"/>
                </a:cubicBezTo>
                <a:lnTo>
                  <a:pt x="2068043" y="282096"/>
                </a:lnTo>
                <a:lnTo>
                  <a:pt x="2155099" y="216997"/>
                </a:lnTo>
                <a:cubicBezTo>
                  <a:pt x="2357886" y="79996"/>
                  <a:pt x="2602350" y="0"/>
                  <a:pt x="2865497" y="0"/>
                </a:cubicBezTo>
                <a:cubicBezTo>
                  <a:pt x="3128645" y="0"/>
                  <a:pt x="3373109" y="79996"/>
                  <a:pt x="3575896" y="216997"/>
                </a:cubicBezTo>
                <a:lnTo>
                  <a:pt x="3662951" y="282096"/>
                </a:lnTo>
                <a:lnTo>
                  <a:pt x="3750007" y="216997"/>
                </a:lnTo>
                <a:cubicBezTo>
                  <a:pt x="3952794" y="79996"/>
                  <a:pt x="4197258" y="0"/>
                  <a:pt x="4460405" y="0"/>
                </a:cubicBezTo>
                <a:cubicBezTo>
                  <a:pt x="4723553" y="0"/>
                  <a:pt x="4968016" y="79996"/>
                  <a:pt x="5170804" y="216997"/>
                </a:cubicBezTo>
                <a:lnTo>
                  <a:pt x="5257860" y="282096"/>
                </a:lnTo>
                <a:lnTo>
                  <a:pt x="5344916" y="216997"/>
                </a:lnTo>
                <a:cubicBezTo>
                  <a:pt x="5547703" y="79996"/>
                  <a:pt x="5792167" y="0"/>
                  <a:pt x="6055314" y="0"/>
                </a:cubicBezTo>
                <a:cubicBezTo>
                  <a:pt x="6757041" y="0"/>
                  <a:pt x="7325903" y="568862"/>
                  <a:pt x="7325903" y="1270589"/>
                </a:cubicBezTo>
                <a:cubicBezTo>
                  <a:pt x="7325903" y="1972316"/>
                  <a:pt x="6757041" y="2541178"/>
                  <a:pt x="6055314" y="2541178"/>
                </a:cubicBezTo>
                <a:cubicBezTo>
                  <a:pt x="5792167" y="2541178"/>
                  <a:pt x="5547703" y="2461182"/>
                  <a:pt x="5344916" y="2324182"/>
                </a:cubicBezTo>
                <a:lnTo>
                  <a:pt x="5257860" y="2259082"/>
                </a:lnTo>
                <a:lnTo>
                  <a:pt x="5170804" y="2324182"/>
                </a:lnTo>
                <a:cubicBezTo>
                  <a:pt x="4968016" y="2461182"/>
                  <a:pt x="4723553" y="2541178"/>
                  <a:pt x="4460405" y="2541178"/>
                </a:cubicBezTo>
                <a:cubicBezTo>
                  <a:pt x="4197258" y="2541178"/>
                  <a:pt x="3952794" y="2461182"/>
                  <a:pt x="3750007" y="2324182"/>
                </a:cubicBezTo>
                <a:lnTo>
                  <a:pt x="3662951" y="2259083"/>
                </a:lnTo>
                <a:lnTo>
                  <a:pt x="3575896" y="2324182"/>
                </a:lnTo>
                <a:cubicBezTo>
                  <a:pt x="3373109" y="2461182"/>
                  <a:pt x="3128645" y="2541178"/>
                  <a:pt x="2865497" y="2541178"/>
                </a:cubicBezTo>
                <a:cubicBezTo>
                  <a:pt x="2602350" y="2541178"/>
                  <a:pt x="2357886" y="2461182"/>
                  <a:pt x="2155099" y="2324182"/>
                </a:cubicBezTo>
                <a:lnTo>
                  <a:pt x="2068043" y="2259083"/>
                </a:lnTo>
                <a:lnTo>
                  <a:pt x="1980988" y="2324182"/>
                </a:lnTo>
                <a:cubicBezTo>
                  <a:pt x="1778200" y="2461182"/>
                  <a:pt x="1533737" y="2541178"/>
                  <a:pt x="1270589" y="2541178"/>
                </a:cubicBezTo>
                <a:cubicBezTo>
                  <a:pt x="568862" y="2541178"/>
                  <a:pt x="0" y="1972316"/>
                  <a:pt x="0" y="1270589"/>
                </a:cubicBezTo>
                <a:cubicBezTo>
                  <a:pt x="0" y="568862"/>
                  <a:pt x="568862" y="0"/>
                  <a:pt x="1270589" y="0"/>
                </a:cubicBezTo>
                <a:close/>
              </a:path>
            </a:pathLst>
          </a:custGeom>
          <a:solidFill>
            <a:schemeClr val="bg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209357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</p:spTree>
    <p:extLst>
      <p:ext uri="{BB962C8B-B14F-4D97-AF65-F5344CB8AC3E}">
        <p14:creationId xmlns:p14="http://schemas.microsoft.com/office/powerpoint/2010/main" val="21040731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+ Text (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0" y="1089025"/>
            <a:ext cx="8128000" cy="5768975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de-DE"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noProof="0"/>
              <a:t>Bild auf Platzhalter ziehen oder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sp>
        <p:nvSpPr>
          <p:cNvPr id="6" name="Rechteck 5"/>
          <p:cNvSpPr/>
          <p:nvPr userDrawn="1"/>
        </p:nvSpPr>
        <p:spPr>
          <a:xfrm>
            <a:off x="8128000" y="1089026"/>
            <a:ext cx="4064000" cy="5768974"/>
          </a:xfrm>
          <a:prstGeom prst="rect">
            <a:avLst/>
          </a:prstGeom>
          <a:solidFill>
            <a:schemeClr val="accent5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8328248" y="1260764"/>
            <a:ext cx="3708177" cy="544483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16000" indent="-216000">
              <a:buClr>
                <a:schemeClr val="bg1"/>
              </a:buClr>
              <a:buSzPct val="150000"/>
              <a:buFont typeface="Audi Type Normal" panose="000B0503040202020203" pitchFamily="34" charset="0"/>
              <a:buChar char="›"/>
              <a:defRPr>
                <a:solidFill>
                  <a:schemeClr val="bg1"/>
                </a:solidFill>
              </a:defRPr>
            </a:lvl2pPr>
            <a:lvl3pPr marL="432000" indent="-216000">
              <a:buClr>
                <a:schemeClr val="bg1"/>
              </a:buClr>
              <a:buSzPct val="150000"/>
              <a:buFont typeface="Audi Type Normal" panose="000B0503040202020203" pitchFamily="34" charset="0"/>
              <a:buChar char="›"/>
              <a:defRPr>
                <a:solidFill>
                  <a:schemeClr val="bg1"/>
                </a:solidFill>
              </a:defRPr>
            </a:lvl3pPr>
            <a:lvl4pPr marL="648000" indent="-216000">
              <a:buClr>
                <a:schemeClr val="bg1"/>
              </a:buClr>
              <a:buSzPct val="150000"/>
              <a:buFont typeface="Audi Type Normal" panose="000B0503040202020203" pitchFamily="34" charset="0"/>
              <a:buChar char="›"/>
              <a:defRPr>
                <a:solidFill>
                  <a:schemeClr val="bg1"/>
                </a:solidFill>
              </a:defRPr>
            </a:lvl4pPr>
            <a:lvl5pPr marL="864000" indent="-216000">
              <a:buClr>
                <a:schemeClr val="bg1"/>
              </a:buClr>
              <a:buSzPct val="150000"/>
              <a:buFont typeface="Audi Type Normal" panose="000B0503040202020203" pitchFamily="34" charset="0"/>
              <a:buChar char="–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(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3182342"/>
            <a:ext cx="9711992" cy="1415772"/>
          </a:xfrm>
        </p:spPr>
        <p:txBody>
          <a:bodyPr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Titel des </a:t>
            </a:r>
            <a:r>
              <a:rPr lang="de-DE" noProof="0" err="1"/>
              <a:t>Kapiteltrenners</a:t>
            </a:r>
            <a:r>
              <a:rPr lang="de-DE" noProof="0"/>
              <a:t> in maximal drei Zeil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4797247"/>
            <a:ext cx="9711992" cy="286617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defRPr sz="1800" b="0" i="0">
                <a:solidFill>
                  <a:schemeClr val="bg1"/>
                </a:solidFill>
                <a:latin typeface="Audi Type Extended Normal" panose="020B0505040200000003" pitchFamily="34" charset="0"/>
                <a:ea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</a:lstStyle>
          <a:p>
            <a:pPr lvl="0"/>
            <a:r>
              <a:rPr lang="de-DE"/>
              <a:t>Untertitel und/oder erklärender Text zum Kapitel</a:t>
            </a:r>
          </a:p>
        </p:txBody>
      </p:sp>
    </p:spTree>
    <p:extLst>
      <p:ext uri="{BB962C8B-B14F-4D97-AF65-F5344CB8AC3E}">
        <p14:creationId xmlns:p14="http://schemas.microsoft.com/office/powerpoint/2010/main" val="20280079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1 (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3F6BA2A1-5029-CF45-947E-D5EC8679C1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5845" y="3297957"/>
            <a:ext cx="9232900" cy="852805"/>
          </a:xfrm>
        </p:spPr>
        <p:txBody>
          <a:bodyPr anchor="ctr"/>
          <a:lstStyle>
            <a:lvl1pPr algn="r">
              <a:defRPr sz="6800" b="1" i="0">
                <a:solidFill>
                  <a:schemeClr val="bg1"/>
                </a:solidFill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Vielen Dank!</a:t>
            </a:r>
          </a:p>
        </p:txBody>
      </p:sp>
    </p:spTree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2 (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Freihandform 15">
            <a:extLst>
              <a:ext uri="{FF2B5EF4-FFF2-40B4-BE49-F238E27FC236}">
                <a16:creationId xmlns:a16="http://schemas.microsoft.com/office/drawing/2014/main" id="{3FFA8916-76ED-AE4E-A95F-274B639151A9}"/>
              </a:ext>
            </a:extLst>
          </p:cNvPr>
          <p:cNvSpPr/>
          <p:nvPr userDrawn="1"/>
        </p:nvSpPr>
        <p:spPr>
          <a:xfrm>
            <a:off x="1" y="0"/>
            <a:ext cx="12192001" cy="6858001"/>
          </a:xfrm>
          <a:custGeom>
            <a:avLst/>
            <a:gdLst>
              <a:gd name="connsiteX0" fmla="*/ 11850404 w 12192001"/>
              <a:gd name="connsiteY0" fmla="*/ 6343657 h 6858001"/>
              <a:gd name="connsiteX1" fmla="*/ 12192001 w 12192001"/>
              <a:gd name="connsiteY1" fmla="*/ 6343657 h 6858001"/>
              <a:gd name="connsiteX2" fmla="*/ 12192001 w 12192001"/>
              <a:gd name="connsiteY2" fmla="*/ 6858001 h 6858001"/>
              <a:gd name="connsiteX3" fmla="*/ 11850404 w 12192001"/>
              <a:gd name="connsiteY3" fmla="*/ 6858001 h 6858001"/>
              <a:gd name="connsiteX4" fmla="*/ 4760847 w 12192001"/>
              <a:gd name="connsiteY4" fmla="*/ 6104184 h 6858001"/>
              <a:gd name="connsiteX5" fmla="*/ 4444496 w 12192001"/>
              <a:gd name="connsiteY5" fmla="*/ 6116997 h 6858001"/>
              <a:gd name="connsiteX6" fmla="*/ 4228880 w 12192001"/>
              <a:gd name="connsiteY6" fmla="*/ 6158971 h 6858001"/>
              <a:gd name="connsiteX7" fmla="*/ 4105608 w 12192001"/>
              <a:gd name="connsiteY7" fmla="*/ 6234524 h 6858001"/>
              <a:gd name="connsiteX8" fmla="*/ 4066285 w 12192001"/>
              <a:gd name="connsiteY8" fmla="*/ 6347192 h 6858001"/>
              <a:gd name="connsiteX9" fmla="*/ 4086609 w 12192001"/>
              <a:gd name="connsiteY9" fmla="*/ 6432908 h 6858001"/>
              <a:gd name="connsiteX10" fmla="*/ 4150675 w 12192001"/>
              <a:gd name="connsiteY10" fmla="*/ 6504485 h 6858001"/>
              <a:gd name="connsiteX11" fmla="*/ 4263344 w 12192001"/>
              <a:gd name="connsiteY11" fmla="*/ 6553528 h 6858001"/>
              <a:gd name="connsiteX12" fmla="*/ 4428589 w 12192001"/>
              <a:gd name="connsiteY12" fmla="*/ 6571643 h 6858001"/>
              <a:gd name="connsiteX13" fmla="*/ 4621671 w 12192001"/>
              <a:gd name="connsiteY13" fmla="*/ 6559272 h 6858001"/>
              <a:gd name="connsiteX14" fmla="*/ 4786915 w 12192001"/>
              <a:gd name="connsiteY14" fmla="*/ 6524809 h 6858001"/>
              <a:gd name="connsiteX15" fmla="*/ 4928304 w 12192001"/>
              <a:gd name="connsiteY15" fmla="*/ 6472231 h 6858001"/>
              <a:gd name="connsiteX16" fmla="*/ 5050691 w 12192001"/>
              <a:gd name="connsiteY16" fmla="*/ 6404630 h 6858001"/>
              <a:gd name="connsiteX17" fmla="*/ 5050691 w 12192001"/>
              <a:gd name="connsiteY17" fmla="*/ 6104184 h 6858001"/>
              <a:gd name="connsiteX18" fmla="*/ 7588078 w 12192001"/>
              <a:gd name="connsiteY18" fmla="*/ 4974857 h 6858001"/>
              <a:gd name="connsiteX19" fmla="*/ 7829318 w 12192001"/>
              <a:gd name="connsiteY19" fmla="*/ 4989879 h 6858001"/>
              <a:gd name="connsiteX20" fmla="*/ 8050677 w 12192001"/>
              <a:gd name="connsiteY20" fmla="*/ 5040690 h 6858001"/>
              <a:gd name="connsiteX21" fmla="*/ 8241107 w 12192001"/>
              <a:gd name="connsiteY21" fmla="*/ 5137010 h 6858001"/>
              <a:gd name="connsiteX22" fmla="*/ 8390005 w 12192001"/>
              <a:gd name="connsiteY22" fmla="*/ 5289001 h 6858001"/>
              <a:gd name="connsiteX23" fmla="*/ 8487209 w 12192001"/>
              <a:gd name="connsiteY23" fmla="*/ 5505941 h 6858001"/>
              <a:gd name="connsiteX24" fmla="*/ 8522113 w 12192001"/>
              <a:gd name="connsiteY24" fmla="*/ 5796667 h 6858001"/>
              <a:gd name="connsiteX25" fmla="*/ 8522113 w 12192001"/>
              <a:gd name="connsiteY25" fmla="*/ 6858001 h 6858001"/>
              <a:gd name="connsiteX26" fmla="*/ 7953917 w 12192001"/>
              <a:gd name="connsiteY26" fmla="*/ 6858001 h 6858001"/>
              <a:gd name="connsiteX27" fmla="*/ 7953917 w 12192001"/>
              <a:gd name="connsiteY27" fmla="*/ 5869128 h 6858001"/>
              <a:gd name="connsiteX28" fmla="*/ 7926523 w 12192001"/>
              <a:gd name="connsiteY28" fmla="*/ 5666327 h 6858001"/>
              <a:gd name="connsiteX29" fmla="*/ 7840364 w 12192001"/>
              <a:gd name="connsiteY29" fmla="*/ 5523173 h 6858001"/>
              <a:gd name="connsiteX30" fmla="*/ 7689699 w 12192001"/>
              <a:gd name="connsiteY30" fmla="*/ 5437899 h 6858001"/>
              <a:gd name="connsiteX31" fmla="*/ 7468783 w 12192001"/>
              <a:gd name="connsiteY31" fmla="*/ 5409621 h 6858001"/>
              <a:gd name="connsiteX32" fmla="*/ 7278795 w 12192001"/>
              <a:gd name="connsiteY32" fmla="*/ 5422434 h 6858001"/>
              <a:gd name="connsiteX33" fmla="*/ 7113550 w 12192001"/>
              <a:gd name="connsiteY33" fmla="*/ 5456456 h 6858001"/>
              <a:gd name="connsiteX34" fmla="*/ 6969511 w 12192001"/>
              <a:gd name="connsiteY34" fmla="*/ 5505941 h 6858001"/>
              <a:gd name="connsiteX35" fmla="*/ 6842264 w 12192001"/>
              <a:gd name="connsiteY35" fmla="*/ 5565147 h 6858001"/>
              <a:gd name="connsiteX36" fmla="*/ 6842264 w 12192001"/>
              <a:gd name="connsiteY36" fmla="*/ 6858001 h 6858001"/>
              <a:gd name="connsiteX37" fmla="*/ 6274066 w 12192001"/>
              <a:gd name="connsiteY37" fmla="*/ 6858001 h 6858001"/>
              <a:gd name="connsiteX38" fmla="*/ 6274066 w 12192001"/>
              <a:gd name="connsiteY38" fmla="*/ 5033179 h 6858001"/>
              <a:gd name="connsiteX39" fmla="*/ 6770686 w 12192001"/>
              <a:gd name="connsiteY39" fmla="*/ 5033179 h 6858001"/>
              <a:gd name="connsiteX40" fmla="*/ 6810452 w 12192001"/>
              <a:gd name="connsiteY40" fmla="*/ 5246143 h 6858001"/>
              <a:gd name="connsiteX41" fmla="*/ 6966860 w 12192001"/>
              <a:gd name="connsiteY41" fmla="*/ 5132150 h 6858001"/>
              <a:gd name="connsiteX42" fmla="*/ 7150663 w 12192001"/>
              <a:gd name="connsiteY42" fmla="*/ 5046876 h 6858001"/>
              <a:gd name="connsiteX43" fmla="*/ 7358767 w 12192001"/>
              <a:gd name="connsiteY43" fmla="*/ 4993414 h 6858001"/>
              <a:gd name="connsiteX44" fmla="*/ 7588078 w 12192001"/>
              <a:gd name="connsiteY44" fmla="*/ 4974857 h 6858001"/>
              <a:gd name="connsiteX45" fmla="*/ 4529327 w 12192001"/>
              <a:gd name="connsiteY45" fmla="*/ 4974857 h 6858001"/>
              <a:gd name="connsiteX46" fmla="*/ 4985740 w 12192001"/>
              <a:gd name="connsiteY46" fmla="*/ 5017273 h 6858001"/>
              <a:gd name="connsiteX47" fmla="*/ 5323301 w 12192001"/>
              <a:gd name="connsiteY47" fmla="*/ 5151591 h 6858001"/>
              <a:gd name="connsiteX48" fmla="*/ 5532730 w 12192001"/>
              <a:gd name="connsiteY48" fmla="*/ 5388413 h 6858001"/>
              <a:gd name="connsiteX49" fmla="*/ 5604750 w 12192001"/>
              <a:gd name="connsiteY49" fmla="*/ 5738345 h 6858001"/>
              <a:gd name="connsiteX50" fmla="*/ 5604750 w 12192001"/>
              <a:gd name="connsiteY50" fmla="*/ 6858001 h 6858001"/>
              <a:gd name="connsiteX51" fmla="*/ 5109968 w 12192001"/>
              <a:gd name="connsiteY51" fmla="*/ 6858001 h 6858001"/>
              <a:gd name="connsiteX52" fmla="*/ 5079851 w 12192001"/>
              <a:gd name="connsiteY52" fmla="*/ 6701542 h 6858001"/>
              <a:gd name="connsiteX53" fmla="*/ 4926092 w 12192001"/>
              <a:gd name="connsiteY53" fmla="*/ 6805815 h 6858001"/>
              <a:gd name="connsiteX54" fmla="*/ 4802339 w 12192001"/>
              <a:gd name="connsiteY54" fmla="*/ 6858001 h 6858001"/>
              <a:gd name="connsiteX55" fmla="*/ 3808692 w 12192001"/>
              <a:gd name="connsiteY55" fmla="*/ 6858001 h 6858001"/>
              <a:gd name="connsiteX56" fmla="*/ 3702214 w 12192001"/>
              <a:gd name="connsiteY56" fmla="*/ 6798304 h 6858001"/>
              <a:gd name="connsiteX57" fmla="*/ 3542712 w 12192001"/>
              <a:gd name="connsiteY57" fmla="*/ 6616269 h 6858001"/>
              <a:gd name="connsiteX58" fmla="*/ 3487483 w 12192001"/>
              <a:gd name="connsiteY58" fmla="*/ 6368400 h 6858001"/>
              <a:gd name="connsiteX59" fmla="*/ 3527690 w 12192001"/>
              <a:gd name="connsiteY59" fmla="*/ 6163389 h 6858001"/>
              <a:gd name="connsiteX60" fmla="*/ 3642566 w 12192001"/>
              <a:gd name="connsiteY60" fmla="*/ 6007864 h 6858001"/>
              <a:gd name="connsiteX61" fmla="*/ 3823277 w 12192001"/>
              <a:gd name="connsiteY61" fmla="*/ 5896080 h 6858001"/>
              <a:gd name="connsiteX62" fmla="*/ 4060983 w 12192001"/>
              <a:gd name="connsiteY62" fmla="*/ 5822736 h 6858001"/>
              <a:gd name="connsiteX63" fmla="*/ 4347292 w 12192001"/>
              <a:gd name="connsiteY63" fmla="*/ 5782971 h 6858001"/>
              <a:gd name="connsiteX64" fmla="*/ 4674249 w 12192001"/>
              <a:gd name="connsiteY64" fmla="*/ 5771041 h 6858001"/>
              <a:gd name="connsiteX65" fmla="*/ 4812541 w 12192001"/>
              <a:gd name="connsiteY65" fmla="*/ 5772808 h 6858001"/>
              <a:gd name="connsiteX66" fmla="*/ 4937582 w 12192001"/>
              <a:gd name="connsiteY66" fmla="*/ 5777227 h 6858001"/>
              <a:gd name="connsiteX67" fmla="*/ 5050691 w 12192001"/>
              <a:gd name="connsiteY67" fmla="*/ 5782529 h 6858001"/>
              <a:gd name="connsiteX68" fmla="*/ 5050691 w 12192001"/>
              <a:gd name="connsiteY68" fmla="*/ 5778994 h 6858001"/>
              <a:gd name="connsiteX69" fmla="*/ 5013575 w 12192001"/>
              <a:gd name="connsiteY69" fmla="*/ 5610656 h 6858001"/>
              <a:gd name="connsiteX70" fmla="*/ 4903558 w 12192001"/>
              <a:gd name="connsiteY70" fmla="*/ 5494895 h 6858001"/>
              <a:gd name="connsiteX71" fmla="*/ 4722407 w 12192001"/>
              <a:gd name="connsiteY71" fmla="*/ 5427736 h 6858001"/>
              <a:gd name="connsiteX72" fmla="*/ 4471888 w 12192001"/>
              <a:gd name="connsiteY72" fmla="*/ 5406087 h 6858001"/>
              <a:gd name="connsiteX73" fmla="*/ 4245670 w 12192001"/>
              <a:gd name="connsiteY73" fmla="*/ 5417574 h 6858001"/>
              <a:gd name="connsiteX74" fmla="*/ 4039333 w 12192001"/>
              <a:gd name="connsiteY74" fmla="*/ 5449386 h 6858001"/>
              <a:gd name="connsiteX75" fmla="*/ 3851995 w 12192001"/>
              <a:gd name="connsiteY75" fmla="*/ 5497546 h 6858001"/>
              <a:gd name="connsiteX76" fmla="*/ 3682773 w 12192001"/>
              <a:gd name="connsiteY76" fmla="*/ 5558077 h 6858001"/>
              <a:gd name="connsiteX77" fmla="*/ 3682773 w 12192001"/>
              <a:gd name="connsiteY77" fmla="*/ 5152474 h 6858001"/>
              <a:gd name="connsiteX78" fmla="*/ 3855972 w 12192001"/>
              <a:gd name="connsiteY78" fmla="*/ 5080014 h 6858001"/>
              <a:gd name="connsiteX79" fmla="*/ 4058331 w 12192001"/>
              <a:gd name="connsiteY79" fmla="*/ 5023901 h 6858001"/>
              <a:gd name="connsiteX80" fmla="*/ 4284552 w 12192001"/>
              <a:gd name="connsiteY80" fmla="*/ 4987670 h 6858001"/>
              <a:gd name="connsiteX81" fmla="*/ 4529327 w 12192001"/>
              <a:gd name="connsiteY81" fmla="*/ 4974857 h 6858001"/>
              <a:gd name="connsiteX82" fmla="*/ 927332 w 12192001"/>
              <a:gd name="connsiteY82" fmla="*/ 4696502 h 6858001"/>
              <a:gd name="connsiteX83" fmla="*/ 927332 w 12192001"/>
              <a:gd name="connsiteY83" fmla="*/ 6462069 h 6858001"/>
              <a:gd name="connsiteX84" fmla="*/ 1502599 w 12192001"/>
              <a:gd name="connsiteY84" fmla="*/ 6462069 h 6858001"/>
              <a:gd name="connsiteX85" fmla="*/ 1833091 w 12192001"/>
              <a:gd name="connsiteY85" fmla="*/ 6432921 h 6858001"/>
              <a:gd name="connsiteX86" fmla="*/ 2086703 w 12192001"/>
              <a:gd name="connsiteY86" fmla="*/ 6349015 h 6858001"/>
              <a:gd name="connsiteX87" fmla="*/ 2271390 w 12192001"/>
              <a:gd name="connsiteY87" fmla="*/ 6216091 h 6858001"/>
              <a:gd name="connsiteX88" fmla="*/ 2394219 w 12192001"/>
              <a:gd name="connsiteY88" fmla="*/ 6039448 h 6858001"/>
              <a:gd name="connsiteX89" fmla="*/ 2462262 w 12192001"/>
              <a:gd name="connsiteY89" fmla="*/ 5825262 h 6858001"/>
              <a:gd name="connsiteX90" fmla="*/ 2483469 w 12192001"/>
              <a:gd name="connsiteY90" fmla="*/ 5578844 h 6858001"/>
              <a:gd name="connsiteX91" fmla="*/ 2462262 w 12192001"/>
              <a:gd name="connsiteY91" fmla="*/ 5332425 h 6858001"/>
              <a:gd name="connsiteX92" fmla="*/ 2394219 w 12192001"/>
              <a:gd name="connsiteY92" fmla="*/ 5118681 h 6858001"/>
              <a:gd name="connsiteX93" fmla="*/ 2271390 w 12192001"/>
              <a:gd name="connsiteY93" fmla="*/ 4942479 h 6858001"/>
              <a:gd name="connsiteX94" fmla="*/ 2086703 w 12192001"/>
              <a:gd name="connsiteY94" fmla="*/ 4809556 h 6858001"/>
              <a:gd name="connsiteX95" fmla="*/ 1833091 w 12192001"/>
              <a:gd name="connsiteY95" fmla="*/ 4725649 h 6858001"/>
              <a:gd name="connsiteX96" fmla="*/ 1502599 w 12192001"/>
              <a:gd name="connsiteY96" fmla="*/ 4696502 h 6858001"/>
              <a:gd name="connsiteX97" fmla="*/ 11857474 w 12192001"/>
              <a:gd name="connsiteY97" fmla="*/ 4268807 h 6858001"/>
              <a:gd name="connsiteX98" fmla="*/ 12192001 w 12192001"/>
              <a:gd name="connsiteY98" fmla="*/ 4268807 h 6858001"/>
              <a:gd name="connsiteX99" fmla="*/ 12192001 w 12192001"/>
              <a:gd name="connsiteY99" fmla="*/ 6064419 h 6858001"/>
              <a:gd name="connsiteX100" fmla="*/ 11976769 w 12192001"/>
              <a:gd name="connsiteY100" fmla="*/ 6064419 h 6858001"/>
              <a:gd name="connsiteX101" fmla="*/ 11921981 w 12192001"/>
              <a:gd name="connsiteY101" fmla="*/ 5724207 h 6858001"/>
              <a:gd name="connsiteX102" fmla="*/ 11907401 w 12192001"/>
              <a:gd name="connsiteY102" fmla="*/ 5621260 h 6858001"/>
              <a:gd name="connsiteX103" fmla="*/ 11892820 w 12192001"/>
              <a:gd name="connsiteY103" fmla="*/ 5492686 h 6858001"/>
              <a:gd name="connsiteX104" fmla="*/ 11879124 w 12192001"/>
              <a:gd name="connsiteY104" fmla="*/ 5348648 h 6858001"/>
              <a:gd name="connsiteX105" fmla="*/ 11867636 w 12192001"/>
              <a:gd name="connsiteY105" fmla="*/ 5197983 h 6858001"/>
              <a:gd name="connsiteX106" fmla="*/ 11860125 w 12192001"/>
              <a:gd name="connsiteY106" fmla="*/ 5049969 h 6858001"/>
              <a:gd name="connsiteX107" fmla="*/ 11857474 w 12192001"/>
              <a:gd name="connsiteY107" fmla="*/ 4913884 h 6858001"/>
              <a:gd name="connsiteX108" fmla="*/ 9179190 w 12192001"/>
              <a:gd name="connsiteY108" fmla="*/ 4268807 h 6858001"/>
              <a:gd name="connsiteX109" fmla="*/ 9747387 w 12192001"/>
              <a:gd name="connsiteY109" fmla="*/ 4268807 h 6858001"/>
              <a:gd name="connsiteX110" fmla="*/ 9747387 w 12192001"/>
              <a:gd name="connsiteY110" fmla="*/ 5789211 h 6858001"/>
              <a:gd name="connsiteX111" fmla="*/ 10670819 w 12192001"/>
              <a:gd name="connsiteY111" fmla="*/ 5033179 h 6858001"/>
              <a:gd name="connsiteX112" fmla="*/ 11413100 w 12192001"/>
              <a:gd name="connsiteY112" fmla="*/ 5033179 h 6858001"/>
              <a:gd name="connsiteX113" fmla="*/ 10580685 w 12192001"/>
              <a:gd name="connsiteY113" fmla="*/ 5698235 h 6858001"/>
              <a:gd name="connsiteX114" fmla="*/ 10515736 w 12192001"/>
              <a:gd name="connsiteY114" fmla="*/ 5749474 h 6858001"/>
              <a:gd name="connsiteX115" fmla="*/ 10451670 w 12192001"/>
              <a:gd name="connsiteY115" fmla="*/ 5800257 h 6858001"/>
              <a:gd name="connsiteX116" fmla="*/ 10388046 w 12192001"/>
              <a:gd name="connsiteY116" fmla="*/ 5850598 h 6858001"/>
              <a:gd name="connsiteX117" fmla="*/ 10323538 w 12192001"/>
              <a:gd name="connsiteY117" fmla="*/ 5901382 h 6858001"/>
              <a:gd name="connsiteX118" fmla="*/ 10386279 w 12192001"/>
              <a:gd name="connsiteY118" fmla="*/ 5956638 h 6858001"/>
              <a:gd name="connsiteX119" fmla="*/ 10449903 w 12192001"/>
              <a:gd name="connsiteY119" fmla="*/ 6012330 h 6858001"/>
              <a:gd name="connsiteX120" fmla="*/ 10513527 w 12192001"/>
              <a:gd name="connsiteY120" fmla="*/ 6067580 h 6858001"/>
              <a:gd name="connsiteX121" fmla="*/ 10576267 w 12192001"/>
              <a:gd name="connsiteY121" fmla="*/ 6122395 h 6858001"/>
              <a:gd name="connsiteX122" fmla="*/ 11405568 w 12192001"/>
              <a:gd name="connsiteY122" fmla="*/ 6858001 h 6858001"/>
              <a:gd name="connsiteX123" fmla="*/ 10615100 w 12192001"/>
              <a:gd name="connsiteY123" fmla="*/ 6858001 h 6858001"/>
              <a:gd name="connsiteX124" fmla="*/ 9747387 w 12192001"/>
              <a:gd name="connsiteY124" fmla="*/ 6038406 h 6858001"/>
              <a:gd name="connsiteX125" fmla="*/ 9747387 w 12192001"/>
              <a:gd name="connsiteY125" fmla="*/ 6858001 h 6858001"/>
              <a:gd name="connsiteX126" fmla="*/ 9179190 w 12192001"/>
              <a:gd name="connsiteY126" fmla="*/ 6858001 h 6858001"/>
              <a:gd name="connsiteX127" fmla="*/ 347646 w 12192001"/>
              <a:gd name="connsiteY127" fmla="*/ 4268807 h 6858001"/>
              <a:gd name="connsiteX128" fmla="*/ 1621894 w 12192001"/>
              <a:gd name="connsiteY128" fmla="*/ 4268807 h 6858001"/>
              <a:gd name="connsiteX129" fmla="*/ 2079191 w 12192001"/>
              <a:gd name="connsiteY129" fmla="*/ 4312107 h 6858001"/>
              <a:gd name="connsiteX130" fmla="*/ 2446355 w 12192001"/>
              <a:gd name="connsiteY130" fmla="*/ 4435820 h 6858001"/>
              <a:gd name="connsiteX131" fmla="*/ 2726920 w 12192001"/>
              <a:gd name="connsiteY131" fmla="*/ 4630669 h 6858001"/>
              <a:gd name="connsiteX132" fmla="*/ 2923536 w 12192001"/>
              <a:gd name="connsiteY132" fmla="*/ 4888258 h 6858001"/>
              <a:gd name="connsiteX133" fmla="*/ 3039296 w 12192001"/>
              <a:gd name="connsiteY133" fmla="*/ 5199309 h 6858001"/>
              <a:gd name="connsiteX134" fmla="*/ 3077294 w 12192001"/>
              <a:gd name="connsiteY134" fmla="*/ 5554543 h 6858001"/>
              <a:gd name="connsiteX135" fmla="*/ 3038412 w 12192001"/>
              <a:gd name="connsiteY135" fmla="*/ 5908451 h 6858001"/>
              <a:gd name="connsiteX136" fmla="*/ 2920000 w 12192001"/>
              <a:gd name="connsiteY136" fmla="*/ 6227013 h 6858001"/>
              <a:gd name="connsiteX137" fmla="*/ 2718525 w 12192001"/>
              <a:gd name="connsiteY137" fmla="*/ 6497415 h 6858001"/>
              <a:gd name="connsiteX138" fmla="*/ 2430891 w 12192001"/>
              <a:gd name="connsiteY138" fmla="*/ 6706844 h 6858001"/>
              <a:gd name="connsiteX139" fmla="*/ 2054449 w 12192001"/>
              <a:gd name="connsiteY139" fmla="*/ 6842045 h 6858001"/>
              <a:gd name="connsiteX140" fmla="*/ 1955219 w 12192001"/>
              <a:gd name="connsiteY140" fmla="*/ 6858001 h 6858001"/>
              <a:gd name="connsiteX141" fmla="*/ 347646 w 12192001"/>
              <a:gd name="connsiteY141" fmla="*/ 6858001 h 6858001"/>
              <a:gd name="connsiteX142" fmla="*/ 8680151 w 12192001"/>
              <a:gd name="connsiteY142" fmla="*/ 852551 h 6858001"/>
              <a:gd name="connsiteX143" fmla="*/ 8477792 w 12192001"/>
              <a:gd name="connsiteY143" fmla="*/ 875084 h 6858001"/>
              <a:gd name="connsiteX144" fmla="*/ 8313871 w 12192001"/>
              <a:gd name="connsiteY144" fmla="*/ 944452 h 6858001"/>
              <a:gd name="connsiteX145" fmla="*/ 8195018 w 12192001"/>
              <a:gd name="connsiteY145" fmla="*/ 1062863 h 6858001"/>
              <a:gd name="connsiteX146" fmla="*/ 8126977 w 12192001"/>
              <a:gd name="connsiteY146" fmla="*/ 1232527 h 6858001"/>
              <a:gd name="connsiteX147" fmla="*/ 9237745 w 12192001"/>
              <a:gd name="connsiteY147" fmla="*/ 1232527 h 6858001"/>
              <a:gd name="connsiteX148" fmla="*/ 9169261 w 12192001"/>
              <a:gd name="connsiteY148" fmla="*/ 1062863 h 6858001"/>
              <a:gd name="connsiteX149" fmla="*/ 9049082 w 12192001"/>
              <a:gd name="connsiteY149" fmla="*/ 944452 h 6858001"/>
              <a:gd name="connsiteX150" fmla="*/ 8883395 w 12192001"/>
              <a:gd name="connsiteY150" fmla="*/ 875084 h 6858001"/>
              <a:gd name="connsiteX151" fmla="*/ 8680151 w 12192001"/>
              <a:gd name="connsiteY151" fmla="*/ 852551 h 6858001"/>
              <a:gd name="connsiteX152" fmla="*/ 4517727 w 12192001"/>
              <a:gd name="connsiteY152" fmla="*/ 852551 h 6858001"/>
              <a:gd name="connsiteX153" fmla="*/ 4315368 w 12192001"/>
              <a:gd name="connsiteY153" fmla="*/ 875084 h 6858001"/>
              <a:gd name="connsiteX154" fmla="*/ 4151447 w 12192001"/>
              <a:gd name="connsiteY154" fmla="*/ 944452 h 6858001"/>
              <a:gd name="connsiteX155" fmla="*/ 4032594 w 12192001"/>
              <a:gd name="connsiteY155" fmla="*/ 1062863 h 6858001"/>
              <a:gd name="connsiteX156" fmla="*/ 3964552 w 12192001"/>
              <a:gd name="connsiteY156" fmla="*/ 1232527 h 6858001"/>
              <a:gd name="connsiteX157" fmla="*/ 5075322 w 12192001"/>
              <a:gd name="connsiteY157" fmla="*/ 1232527 h 6858001"/>
              <a:gd name="connsiteX158" fmla="*/ 5006837 w 12192001"/>
              <a:gd name="connsiteY158" fmla="*/ 1062863 h 6858001"/>
              <a:gd name="connsiteX159" fmla="*/ 4886660 w 12192001"/>
              <a:gd name="connsiteY159" fmla="*/ 944452 h 6858001"/>
              <a:gd name="connsiteX160" fmla="*/ 4720970 w 12192001"/>
              <a:gd name="connsiteY160" fmla="*/ 875084 h 6858001"/>
              <a:gd name="connsiteX161" fmla="*/ 4517727 w 12192001"/>
              <a:gd name="connsiteY161" fmla="*/ 852551 h 6858001"/>
              <a:gd name="connsiteX162" fmla="*/ 2264041 w 12192001"/>
              <a:gd name="connsiteY162" fmla="*/ 508804 h 6858001"/>
              <a:gd name="connsiteX163" fmla="*/ 2832239 w 12192001"/>
              <a:gd name="connsiteY163" fmla="*/ 508804 h 6858001"/>
              <a:gd name="connsiteX164" fmla="*/ 2832239 w 12192001"/>
              <a:gd name="connsiteY164" fmla="*/ 2365388 h 6858001"/>
              <a:gd name="connsiteX165" fmla="*/ 2264041 w 12192001"/>
              <a:gd name="connsiteY165" fmla="*/ 2365388 h 6858001"/>
              <a:gd name="connsiteX166" fmla="*/ 11655254 w 12192001"/>
              <a:gd name="connsiteY166" fmla="*/ 450482 h 6858001"/>
              <a:gd name="connsiteX167" fmla="*/ 11896495 w 12192001"/>
              <a:gd name="connsiteY167" fmla="*/ 465504 h 6858001"/>
              <a:gd name="connsiteX168" fmla="*/ 12117853 w 12192001"/>
              <a:gd name="connsiteY168" fmla="*/ 516315 h 6858001"/>
              <a:gd name="connsiteX169" fmla="*/ 12192001 w 12192001"/>
              <a:gd name="connsiteY169" fmla="*/ 547588 h 6858001"/>
              <a:gd name="connsiteX170" fmla="*/ 12192001 w 12192001"/>
              <a:gd name="connsiteY170" fmla="*/ 2365388 h 6858001"/>
              <a:gd name="connsiteX171" fmla="*/ 12021092 w 12192001"/>
              <a:gd name="connsiteY171" fmla="*/ 2365388 h 6858001"/>
              <a:gd name="connsiteX172" fmla="*/ 12021092 w 12192001"/>
              <a:gd name="connsiteY172" fmla="*/ 1344753 h 6858001"/>
              <a:gd name="connsiteX173" fmla="*/ 11993698 w 12192001"/>
              <a:gd name="connsiteY173" fmla="*/ 1141951 h 6858001"/>
              <a:gd name="connsiteX174" fmla="*/ 11907540 w 12192001"/>
              <a:gd name="connsiteY174" fmla="*/ 998797 h 6858001"/>
              <a:gd name="connsiteX175" fmla="*/ 11756875 w 12192001"/>
              <a:gd name="connsiteY175" fmla="*/ 913524 h 6858001"/>
              <a:gd name="connsiteX176" fmla="*/ 11535958 w 12192001"/>
              <a:gd name="connsiteY176" fmla="*/ 885246 h 6858001"/>
              <a:gd name="connsiteX177" fmla="*/ 11345970 w 12192001"/>
              <a:gd name="connsiteY177" fmla="*/ 898059 h 6858001"/>
              <a:gd name="connsiteX178" fmla="*/ 11180724 w 12192001"/>
              <a:gd name="connsiteY178" fmla="*/ 932081 h 6858001"/>
              <a:gd name="connsiteX179" fmla="*/ 11036687 w 12192001"/>
              <a:gd name="connsiteY179" fmla="*/ 981566 h 6858001"/>
              <a:gd name="connsiteX180" fmla="*/ 10909439 w 12192001"/>
              <a:gd name="connsiteY180" fmla="*/ 1040772 h 6858001"/>
              <a:gd name="connsiteX181" fmla="*/ 10909439 w 12192001"/>
              <a:gd name="connsiteY181" fmla="*/ 2365388 h 6858001"/>
              <a:gd name="connsiteX182" fmla="*/ 10341241 w 12192001"/>
              <a:gd name="connsiteY182" fmla="*/ 2365388 h 6858001"/>
              <a:gd name="connsiteX183" fmla="*/ 10341241 w 12192001"/>
              <a:gd name="connsiteY183" fmla="*/ 508804 h 6858001"/>
              <a:gd name="connsiteX184" fmla="*/ 10837862 w 12192001"/>
              <a:gd name="connsiteY184" fmla="*/ 508804 h 6858001"/>
              <a:gd name="connsiteX185" fmla="*/ 10877627 w 12192001"/>
              <a:gd name="connsiteY185" fmla="*/ 721768 h 6858001"/>
              <a:gd name="connsiteX186" fmla="*/ 11034036 w 12192001"/>
              <a:gd name="connsiteY186" fmla="*/ 607775 h 6858001"/>
              <a:gd name="connsiteX187" fmla="*/ 11217838 w 12192001"/>
              <a:gd name="connsiteY187" fmla="*/ 522501 h 6858001"/>
              <a:gd name="connsiteX188" fmla="*/ 11425942 w 12192001"/>
              <a:gd name="connsiteY188" fmla="*/ 469039 h 6858001"/>
              <a:gd name="connsiteX189" fmla="*/ 11655254 w 12192001"/>
              <a:gd name="connsiteY189" fmla="*/ 450482 h 6858001"/>
              <a:gd name="connsiteX190" fmla="*/ 8680151 w 12192001"/>
              <a:gd name="connsiteY190" fmla="*/ 450482 h 6858001"/>
              <a:gd name="connsiteX191" fmla="*/ 9041129 w 12192001"/>
              <a:gd name="connsiteY191" fmla="*/ 484503 h 6858001"/>
              <a:gd name="connsiteX192" fmla="*/ 9330088 w 12192001"/>
              <a:gd name="connsiteY192" fmla="*/ 580381 h 6858001"/>
              <a:gd name="connsiteX193" fmla="*/ 9549238 w 12192001"/>
              <a:gd name="connsiteY193" fmla="*/ 729279 h 6858001"/>
              <a:gd name="connsiteX194" fmla="*/ 9702112 w 12192001"/>
              <a:gd name="connsiteY194" fmla="*/ 922802 h 6858001"/>
              <a:gd name="connsiteX195" fmla="*/ 9791804 w 12192001"/>
              <a:gd name="connsiteY195" fmla="*/ 1152556 h 6858001"/>
              <a:gd name="connsiteX196" fmla="*/ 9820966 w 12192001"/>
              <a:gd name="connsiteY196" fmla="*/ 1410144 h 6858001"/>
              <a:gd name="connsiteX197" fmla="*/ 9820082 w 12192001"/>
              <a:gd name="connsiteY197" fmla="*/ 1459188 h 6858001"/>
              <a:gd name="connsiteX198" fmla="*/ 9817873 w 12192001"/>
              <a:gd name="connsiteY198" fmla="*/ 1504697 h 6858001"/>
              <a:gd name="connsiteX199" fmla="*/ 9814338 w 12192001"/>
              <a:gd name="connsiteY199" fmla="*/ 1546229 h 6858001"/>
              <a:gd name="connsiteX200" fmla="*/ 9809478 w 12192001"/>
              <a:gd name="connsiteY200" fmla="*/ 1583343 h 6858001"/>
              <a:gd name="connsiteX201" fmla="*/ 8119024 w 12192001"/>
              <a:gd name="connsiteY201" fmla="*/ 1583343 h 6858001"/>
              <a:gd name="connsiteX202" fmla="*/ 8173369 w 12192001"/>
              <a:gd name="connsiteY202" fmla="*/ 1752123 h 6858001"/>
              <a:gd name="connsiteX203" fmla="*/ 8298407 w 12192001"/>
              <a:gd name="connsiteY203" fmla="*/ 1879813 h 6858001"/>
              <a:gd name="connsiteX204" fmla="*/ 8501651 w 12192001"/>
              <a:gd name="connsiteY204" fmla="*/ 1960669 h 6858001"/>
              <a:gd name="connsiteX205" fmla="*/ 8792377 w 12192001"/>
              <a:gd name="connsiteY205" fmla="*/ 1988946 h 6858001"/>
              <a:gd name="connsiteX206" fmla="*/ 9034502 w 12192001"/>
              <a:gd name="connsiteY206" fmla="*/ 1977900 h 6858001"/>
              <a:gd name="connsiteX207" fmla="*/ 9265581 w 12192001"/>
              <a:gd name="connsiteY207" fmla="*/ 1946972 h 6858001"/>
              <a:gd name="connsiteX208" fmla="*/ 9475010 w 12192001"/>
              <a:gd name="connsiteY208" fmla="*/ 1900138 h 6858001"/>
              <a:gd name="connsiteX209" fmla="*/ 9653952 w 12192001"/>
              <a:gd name="connsiteY209" fmla="*/ 1840490 h 6858001"/>
              <a:gd name="connsiteX210" fmla="*/ 9653952 w 12192001"/>
              <a:gd name="connsiteY210" fmla="*/ 2246093 h 6858001"/>
              <a:gd name="connsiteX211" fmla="*/ 9466615 w 12192001"/>
              <a:gd name="connsiteY211" fmla="*/ 2317670 h 6858001"/>
              <a:gd name="connsiteX212" fmla="*/ 9238187 w 12192001"/>
              <a:gd name="connsiteY212" fmla="*/ 2372016 h 6858001"/>
              <a:gd name="connsiteX213" fmla="*/ 8985900 w 12192001"/>
              <a:gd name="connsiteY213" fmla="*/ 2406921 h 6858001"/>
              <a:gd name="connsiteX214" fmla="*/ 8727869 w 12192001"/>
              <a:gd name="connsiteY214" fmla="*/ 2419292 h 6858001"/>
              <a:gd name="connsiteX215" fmla="*/ 8363799 w 12192001"/>
              <a:gd name="connsiteY215" fmla="*/ 2385713 h 6858001"/>
              <a:gd name="connsiteX216" fmla="*/ 8066887 w 12192001"/>
              <a:gd name="connsiteY216" fmla="*/ 2290718 h 6858001"/>
              <a:gd name="connsiteX217" fmla="*/ 7837133 w 12192001"/>
              <a:gd name="connsiteY217" fmla="*/ 2141821 h 6858001"/>
              <a:gd name="connsiteX218" fmla="*/ 7673655 w 12192001"/>
              <a:gd name="connsiteY218" fmla="*/ 1946088 h 6858001"/>
              <a:gd name="connsiteX219" fmla="*/ 7576011 w 12192001"/>
              <a:gd name="connsiteY219" fmla="*/ 1711917 h 6858001"/>
              <a:gd name="connsiteX220" fmla="*/ 7543757 w 12192001"/>
              <a:gd name="connsiteY220" fmla="*/ 1446375 h 6858001"/>
              <a:gd name="connsiteX221" fmla="*/ 7573360 w 12192001"/>
              <a:gd name="connsiteY221" fmla="*/ 1190553 h 6858001"/>
              <a:gd name="connsiteX222" fmla="*/ 7663935 w 12192001"/>
              <a:gd name="connsiteY222" fmla="*/ 955056 h 6858001"/>
              <a:gd name="connsiteX223" fmla="*/ 7817693 w 12192001"/>
              <a:gd name="connsiteY223" fmla="*/ 751812 h 6858001"/>
              <a:gd name="connsiteX224" fmla="*/ 8036401 w 12192001"/>
              <a:gd name="connsiteY224" fmla="*/ 591869 h 6858001"/>
              <a:gd name="connsiteX225" fmla="*/ 8323150 w 12192001"/>
              <a:gd name="connsiteY225" fmla="*/ 487596 h 6858001"/>
              <a:gd name="connsiteX226" fmla="*/ 8680151 w 12192001"/>
              <a:gd name="connsiteY226" fmla="*/ 450482 h 6858001"/>
              <a:gd name="connsiteX227" fmla="*/ 4517727 w 12192001"/>
              <a:gd name="connsiteY227" fmla="*/ 450482 h 6858001"/>
              <a:gd name="connsiteX228" fmla="*/ 4878705 w 12192001"/>
              <a:gd name="connsiteY228" fmla="*/ 484503 h 6858001"/>
              <a:gd name="connsiteX229" fmla="*/ 5167664 w 12192001"/>
              <a:gd name="connsiteY229" fmla="*/ 580381 h 6858001"/>
              <a:gd name="connsiteX230" fmla="*/ 5386813 w 12192001"/>
              <a:gd name="connsiteY230" fmla="*/ 729279 h 6858001"/>
              <a:gd name="connsiteX231" fmla="*/ 5539689 w 12192001"/>
              <a:gd name="connsiteY231" fmla="*/ 922802 h 6858001"/>
              <a:gd name="connsiteX232" fmla="*/ 5629381 w 12192001"/>
              <a:gd name="connsiteY232" fmla="*/ 1152556 h 6858001"/>
              <a:gd name="connsiteX233" fmla="*/ 5658541 w 12192001"/>
              <a:gd name="connsiteY233" fmla="*/ 1410144 h 6858001"/>
              <a:gd name="connsiteX234" fmla="*/ 5657657 w 12192001"/>
              <a:gd name="connsiteY234" fmla="*/ 1459188 h 6858001"/>
              <a:gd name="connsiteX235" fmla="*/ 5655448 w 12192001"/>
              <a:gd name="connsiteY235" fmla="*/ 1504697 h 6858001"/>
              <a:gd name="connsiteX236" fmla="*/ 5651915 w 12192001"/>
              <a:gd name="connsiteY236" fmla="*/ 1546229 h 6858001"/>
              <a:gd name="connsiteX237" fmla="*/ 5647053 w 12192001"/>
              <a:gd name="connsiteY237" fmla="*/ 1583343 h 6858001"/>
              <a:gd name="connsiteX238" fmla="*/ 3956599 w 12192001"/>
              <a:gd name="connsiteY238" fmla="*/ 1583343 h 6858001"/>
              <a:gd name="connsiteX239" fmla="*/ 4010944 w 12192001"/>
              <a:gd name="connsiteY239" fmla="*/ 1752123 h 6858001"/>
              <a:gd name="connsiteX240" fmla="*/ 4135983 w 12192001"/>
              <a:gd name="connsiteY240" fmla="*/ 1879813 h 6858001"/>
              <a:gd name="connsiteX241" fmla="*/ 4339226 w 12192001"/>
              <a:gd name="connsiteY241" fmla="*/ 1960669 h 6858001"/>
              <a:gd name="connsiteX242" fmla="*/ 4629954 w 12192001"/>
              <a:gd name="connsiteY242" fmla="*/ 1988946 h 6858001"/>
              <a:gd name="connsiteX243" fmla="*/ 4872081 w 12192001"/>
              <a:gd name="connsiteY243" fmla="*/ 1977900 h 6858001"/>
              <a:gd name="connsiteX244" fmla="*/ 5103157 w 12192001"/>
              <a:gd name="connsiteY244" fmla="*/ 1946972 h 6858001"/>
              <a:gd name="connsiteX245" fmla="*/ 5312586 w 12192001"/>
              <a:gd name="connsiteY245" fmla="*/ 1900138 h 6858001"/>
              <a:gd name="connsiteX246" fmla="*/ 5491527 w 12192001"/>
              <a:gd name="connsiteY246" fmla="*/ 1840490 h 6858001"/>
              <a:gd name="connsiteX247" fmla="*/ 5491527 w 12192001"/>
              <a:gd name="connsiteY247" fmla="*/ 2246093 h 6858001"/>
              <a:gd name="connsiteX248" fmla="*/ 5304194 w 12192001"/>
              <a:gd name="connsiteY248" fmla="*/ 2317670 h 6858001"/>
              <a:gd name="connsiteX249" fmla="*/ 5075764 w 12192001"/>
              <a:gd name="connsiteY249" fmla="*/ 2372016 h 6858001"/>
              <a:gd name="connsiteX250" fmla="*/ 4823476 w 12192001"/>
              <a:gd name="connsiteY250" fmla="*/ 2406921 h 6858001"/>
              <a:gd name="connsiteX251" fmla="*/ 4565446 w 12192001"/>
              <a:gd name="connsiteY251" fmla="*/ 2419292 h 6858001"/>
              <a:gd name="connsiteX252" fmla="*/ 4201377 w 12192001"/>
              <a:gd name="connsiteY252" fmla="*/ 2385713 h 6858001"/>
              <a:gd name="connsiteX253" fmla="*/ 3904463 w 12192001"/>
              <a:gd name="connsiteY253" fmla="*/ 2290718 h 6858001"/>
              <a:gd name="connsiteX254" fmla="*/ 3674709 w 12192001"/>
              <a:gd name="connsiteY254" fmla="*/ 2141821 h 6858001"/>
              <a:gd name="connsiteX255" fmla="*/ 3511230 w 12192001"/>
              <a:gd name="connsiteY255" fmla="*/ 1946088 h 6858001"/>
              <a:gd name="connsiteX256" fmla="*/ 3413585 w 12192001"/>
              <a:gd name="connsiteY256" fmla="*/ 1711917 h 6858001"/>
              <a:gd name="connsiteX257" fmla="*/ 3381331 w 12192001"/>
              <a:gd name="connsiteY257" fmla="*/ 1446375 h 6858001"/>
              <a:gd name="connsiteX258" fmla="*/ 3410934 w 12192001"/>
              <a:gd name="connsiteY258" fmla="*/ 1190553 h 6858001"/>
              <a:gd name="connsiteX259" fmla="*/ 3501510 w 12192001"/>
              <a:gd name="connsiteY259" fmla="*/ 955056 h 6858001"/>
              <a:gd name="connsiteX260" fmla="*/ 3655268 w 12192001"/>
              <a:gd name="connsiteY260" fmla="*/ 751812 h 6858001"/>
              <a:gd name="connsiteX261" fmla="*/ 3873976 w 12192001"/>
              <a:gd name="connsiteY261" fmla="*/ 591869 h 6858001"/>
              <a:gd name="connsiteX262" fmla="*/ 4160726 w 12192001"/>
              <a:gd name="connsiteY262" fmla="*/ 487596 h 6858001"/>
              <a:gd name="connsiteX263" fmla="*/ 4517727 w 12192001"/>
              <a:gd name="connsiteY263" fmla="*/ 450482 h 6858001"/>
              <a:gd name="connsiteX264" fmla="*/ 6157609 w 12192001"/>
              <a:gd name="connsiteY264" fmla="*/ 0 h 6858001"/>
              <a:gd name="connsiteX265" fmla="*/ 6725807 w 12192001"/>
              <a:gd name="connsiteY265" fmla="*/ 0 h 6858001"/>
              <a:gd name="connsiteX266" fmla="*/ 6725807 w 12192001"/>
              <a:gd name="connsiteY266" fmla="*/ 1760960 h 6858001"/>
              <a:gd name="connsiteX267" fmla="*/ 6734643 w 12192001"/>
              <a:gd name="connsiteY267" fmla="*/ 1849327 h 6858001"/>
              <a:gd name="connsiteX268" fmla="*/ 6771757 w 12192001"/>
              <a:gd name="connsiteY268" fmla="*/ 1916927 h 6858001"/>
              <a:gd name="connsiteX269" fmla="*/ 6852611 w 12192001"/>
              <a:gd name="connsiteY269" fmla="*/ 1959785 h 6858001"/>
              <a:gd name="connsiteX270" fmla="*/ 6993557 w 12192001"/>
              <a:gd name="connsiteY270" fmla="*/ 1974808 h 6858001"/>
              <a:gd name="connsiteX271" fmla="*/ 7148199 w 12192001"/>
              <a:gd name="connsiteY271" fmla="*/ 1962878 h 6858001"/>
              <a:gd name="connsiteX272" fmla="*/ 7286934 w 12192001"/>
              <a:gd name="connsiteY272" fmla="*/ 1935043 h 6858001"/>
              <a:gd name="connsiteX273" fmla="*/ 7286934 w 12192001"/>
              <a:gd name="connsiteY273" fmla="*/ 2332693 h 6858001"/>
              <a:gd name="connsiteX274" fmla="*/ 7183986 w 12192001"/>
              <a:gd name="connsiteY274" fmla="*/ 2364947 h 6858001"/>
              <a:gd name="connsiteX275" fmla="*/ 7064250 w 12192001"/>
              <a:gd name="connsiteY275" fmla="*/ 2390131 h 6858001"/>
              <a:gd name="connsiteX276" fmla="*/ 6935235 w 12192001"/>
              <a:gd name="connsiteY276" fmla="*/ 2406479 h 6858001"/>
              <a:gd name="connsiteX277" fmla="*/ 6805336 w 12192001"/>
              <a:gd name="connsiteY277" fmla="*/ 2412223 h 6858001"/>
              <a:gd name="connsiteX278" fmla="*/ 6505773 w 12192001"/>
              <a:gd name="connsiteY278" fmla="*/ 2373341 h 6858001"/>
              <a:gd name="connsiteX279" fmla="*/ 6305181 w 12192001"/>
              <a:gd name="connsiteY279" fmla="*/ 2260674 h 6858001"/>
              <a:gd name="connsiteX280" fmla="*/ 6192514 w 12192001"/>
              <a:gd name="connsiteY280" fmla="*/ 2079964 h 6858001"/>
              <a:gd name="connsiteX281" fmla="*/ 6157609 w 12192001"/>
              <a:gd name="connsiteY281" fmla="*/ 1836955 h 6858001"/>
              <a:gd name="connsiteX282" fmla="*/ 2264041 w 12192001"/>
              <a:gd name="connsiteY282" fmla="*/ 0 h 6858001"/>
              <a:gd name="connsiteX283" fmla="*/ 2832239 w 12192001"/>
              <a:gd name="connsiteY283" fmla="*/ 0 h 6858001"/>
              <a:gd name="connsiteX284" fmla="*/ 2832239 w 12192001"/>
              <a:gd name="connsiteY284" fmla="*/ 237518 h 6858001"/>
              <a:gd name="connsiteX285" fmla="*/ 2264041 w 12192001"/>
              <a:gd name="connsiteY285" fmla="*/ 237518 h 6858001"/>
              <a:gd name="connsiteX286" fmla="*/ 1165266 w 12192001"/>
              <a:gd name="connsiteY286" fmla="*/ 0 h 6858001"/>
              <a:gd name="connsiteX287" fmla="*/ 1795459 w 12192001"/>
              <a:gd name="connsiteY287" fmla="*/ 0 h 6858001"/>
              <a:gd name="connsiteX288" fmla="*/ 599681 w 12192001"/>
              <a:gd name="connsiteY288" fmla="*/ 2365388 h 6858001"/>
              <a:gd name="connsiteX289" fmla="*/ 0 w 12192001"/>
              <a:gd name="connsiteY289" fmla="*/ 2365388 h 6858001"/>
              <a:gd name="connsiteX290" fmla="*/ 0 w 12192001"/>
              <a:gd name="connsiteY290" fmla="*/ 1139294 h 6858001"/>
              <a:gd name="connsiteX291" fmla="*/ 176267 w 12192001"/>
              <a:gd name="connsiteY291" fmla="*/ 1507348 h 6858001"/>
              <a:gd name="connsiteX292" fmla="*/ 243011 w 12192001"/>
              <a:gd name="connsiteY292" fmla="*/ 1648734 h 6858001"/>
              <a:gd name="connsiteX293" fmla="*/ 309756 w 12192001"/>
              <a:gd name="connsiteY293" fmla="*/ 1790121 h 6858001"/>
              <a:gd name="connsiteX294" fmla="*/ 376942 w 12192001"/>
              <a:gd name="connsiteY294" fmla="*/ 1648734 h 6858001"/>
              <a:gd name="connsiteX295" fmla="*/ 444128 w 12192001"/>
              <a:gd name="connsiteY295" fmla="*/ 1507348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</a:cxnLst>
            <a:rect l="l" t="t" r="r" b="b"/>
            <a:pathLst>
              <a:path w="12192001" h="6858001">
                <a:moveTo>
                  <a:pt x="11850404" y="6343657"/>
                </a:moveTo>
                <a:lnTo>
                  <a:pt x="12192001" y="6343657"/>
                </a:lnTo>
                <a:lnTo>
                  <a:pt x="12192001" y="6858001"/>
                </a:lnTo>
                <a:lnTo>
                  <a:pt x="11850404" y="6858001"/>
                </a:lnTo>
                <a:close/>
                <a:moveTo>
                  <a:pt x="4760847" y="6104184"/>
                </a:moveTo>
                <a:cubicBezTo>
                  <a:pt x="4637722" y="6104184"/>
                  <a:pt x="4532271" y="6108454"/>
                  <a:pt x="4444496" y="6116997"/>
                </a:cubicBezTo>
                <a:cubicBezTo>
                  <a:pt x="4356718" y="6125539"/>
                  <a:pt x="4284844" y="6139530"/>
                  <a:pt x="4228880" y="6158971"/>
                </a:cubicBezTo>
                <a:cubicBezTo>
                  <a:pt x="4172914" y="6178412"/>
                  <a:pt x="4131823" y="6203596"/>
                  <a:pt x="4105608" y="6234524"/>
                </a:cubicBezTo>
                <a:cubicBezTo>
                  <a:pt x="4079392" y="6265453"/>
                  <a:pt x="4066285" y="6303009"/>
                  <a:pt x="4066285" y="6347192"/>
                </a:cubicBezTo>
                <a:cubicBezTo>
                  <a:pt x="4066285" y="6377237"/>
                  <a:pt x="4073060" y="6405808"/>
                  <a:pt x="4086609" y="6432908"/>
                </a:cubicBezTo>
                <a:cubicBezTo>
                  <a:pt x="4100158" y="6460007"/>
                  <a:pt x="4121514" y="6483866"/>
                  <a:pt x="4150675" y="6504485"/>
                </a:cubicBezTo>
                <a:cubicBezTo>
                  <a:pt x="4179836" y="6525103"/>
                  <a:pt x="4217393" y="6541451"/>
                  <a:pt x="4263344" y="6553528"/>
                </a:cubicBezTo>
                <a:cubicBezTo>
                  <a:pt x="4309293" y="6565605"/>
                  <a:pt x="4364374" y="6571643"/>
                  <a:pt x="4428589" y="6571643"/>
                </a:cubicBezTo>
                <a:cubicBezTo>
                  <a:pt x="4498102" y="6571643"/>
                  <a:pt x="4562464" y="6567519"/>
                  <a:pt x="4621671" y="6559272"/>
                </a:cubicBezTo>
                <a:cubicBezTo>
                  <a:pt x="4680877" y="6551024"/>
                  <a:pt x="4735957" y="6539537"/>
                  <a:pt x="4786915" y="6524809"/>
                </a:cubicBezTo>
                <a:cubicBezTo>
                  <a:pt x="4837873" y="6510081"/>
                  <a:pt x="4885003" y="6492555"/>
                  <a:pt x="4928304" y="6472231"/>
                </a:cubicBezTo>
                <a:cubicBezTo>
                  <a:pt x="4971602" y="6451907"/>
                  <a:pt x="5012397" y="6429373"/>
                  <a:pt x="5050691" y="6404630"/>
                </a:cubicBezTo>
                <a:lnTo>
                  <a:pt x="5050691" y="6104184"/>
                </a:lnTo>
                <a:close/>
                <a:moveTo>
                  <a:pt x="7588078" y="4974857"/>
                </a:moveTo>
                <a:cubicBezTo>
                  <a:pt x="7670554" y="4974857"/>
                  <a:pt x="7750966" y="4979864"/>
                  <a:pt x="7829318" y="4989879"/>
                </a:cubicBezTo>
                <a:cubicBezTo>
                  <a:pt x="7907669" y="4999895"/>
                  <a:pt x="7981456" y="5016831"/>
                  <a:pt x="8050677" y="5040690"/>
                </a:cubicBezTo>
                <a:cubicBezTo>
                  <a:pt x="8119898" y="5064549"/>
                  <a:pt x="8183375" y="5096656"/>
                  <a:pt x="8241107" y="5137010"/>
                </a:cubicBezTo>
                <a:cubicBezTo>
                  <a:pt x="8298840" y="5177364"/>
                  <a:pt x="8348473" y="5228028"/>
                  <a:pt x="8390005" y="5289001"/>
                </a:cubicBezTo>
                <a:cubicBezTo>
                  <a:pt x="8431538" y="5349974"/>
                  <a:pt x="8463938" y="5422287"/>
                  <a:pt x="8487209" y="5505941"/>
                </a:cubicBezTo>
                <a:cubicBezTo>
                  <a:pt x="8510478" y="5589595"/>
                  <a:pt x="8522113" y="5686503"/>
                  <a:pt x="8522113" y="5796667"/>
                </a:cubicBezTo>
                <a:lnTo>
                  <a:pt x="8522113" y="6858001"/>
                </a:lnTo>
                <a:lnTo>
                  <a:pt x="7953917" y="6858001"/>
                </a:lnTo>
                <a:lnTo>
                  <a:pt x="7953917" y="5869128"/>
                </a:lnTo>
                <a:cubicBezTo>
                  <a:pt x="7953917" y="5791365"/>
                  <a:pt x="7944785" y="5723765"/>
                  <a:pt x="7926523" y="5666327"/>
                </a:cubicBezTo>
                <a:cubicBezTo>
                  <a:pt x="7908259" y="5608888"/>
                  <a:pt x="7879540" y="5561170"/>
                  <a:pt x="7840364" y="5523173"/>
                </a:cubicBezTo>
                <a:cubicBezTo>
                  <a:pt x="7801189" y="5485175"/>
                  <a:pt x="7750966" y="5456750"/>
                  <a:pt x="7689699" y="5437899"/>
                </a:cubicBezTo>
                <a:cubicBezTo>
                  <a:pt x="7628431" y="5419047"/>
                  <a:pt x="7554792" y="5409621"/>
                  <a:pt x="7468783" y="5409621"/>
                </a:cubicBezTo>
                <a:cubicBezTo>
                  <a:pt x="7401034" y="5409621"/>
                  <a:pt x="7337705" y="5413893"/>
                  <a:pt x="7278795" y="5422434"/>
                </a:cubicBezTo>
                <a:cubicBezTo>
                  <a:pt x="7219883" y="5430976"/>
                  <a:pt x="7164801" y="5442317"/>
                  <a:pt x="7113550" y="5456456"/>
                </a:cubicBezTo>
                <a:cubicBezTo>
                  <a:pt x="7062296" y="5470594"/>
                  <a:pt x="7014284" y="5487089"/>
                  <a:pt x="6969511" y="5505941"/>
                </a:cubicBezTo>
                <a:cubicBezTo>
                  <a:pt x="6924738" y="5524793"/>
                  <a:pt x="6882322" y="5544528"/>
                  <a:pt x="6842264" y="5565147"/>
                </a:cubicBezTo>
                <a:lnTo>
                  <a:pt x="6842264" y="6858001"/>
                </a:lnTo>
                <a:lnTo>
                  <a:pt x="6274066" y="6858001"/>
                </a:lnTo>
                <a:lnTo>
                  <a:pt x="6274066" y="5033179"/>
                </a:lnTo>
                <a:lnTo>
                  <a:pt x="6770686" y="5033179"/>
                </a:lnTo>
                <a:lnTo>
                  <a:pt x="6810452" y="5246143"/>
                </a:lnTo>
                <a:cubicBezTo>
                  <a:pt x="6857581" y="5203727"/>
                  <a:pt x="6909717" y="5165729"/>
                  <a:pt x="6966860" y="5132150"/>
                </a:cubicBezTo>
                <a:cubicBezTo>
                  <a:pt x="7024004" y="5098571"/>
                  <a:pt x="7085271" y="5070146"/>
                  <a:pt x="7150663" y="5046876"/>
                </a:cubicBezTo>
                <a:cubicBezTo>
                  <a:pt x="7216055" y="5023606"/>
                  <a:pt x="7285423" y="5005785"/>
                  <a:pt x="7358767" y="4993414"/>
                </a:cubicBezTo>
                <a:cubicBezTo>
                  <a:pt x="7432110" y="4981043"/>
                  <a:pt x="7508547" y="4974857"/>
                  <a:pt x="7588078" y="4974857"/>
                </a:cubicBezTo>
                <a:close/>
                <a:moveTo>
                  <a:pt x="4529327" y="4974857"/>
                </a:moveTo>
                <a:cubicBezTo>
                  <a:pt x="4700170" y="4974857"/>
                  <a:pt x="4852308" y="4988996"/>
                  <a:pt x="4985740" y="5017273"/>
                </a:cubicBezTo>
                <a:cubicBezTo>
                  <a:pt x="5119173" y="5045550"/>
                  <a:pt x="5231696" y="5090323"/>
                  <a:pt x="5323301" y="5151591"/>
                </a:cubicBezTo>
                <a:cubicBezTo>
                  <a:pt x="5414908" y="5212858"/>
                  <a:pt x="5484718" y="5291799"/>
                  <a:pt x="5532730" y="5388413"/>
                </a:cubicBezTo>
                <a:cubicBezTo>
                  <a:pt x="5580743" y="5485028"/>
                  <a:pt x="5604750" y="5601672"/>
                  <a:pt x="5604750" y="5738345"/>
                </a:cubicBezTo>
                <a:lnTo>
                  <a:pt x="5604750" y="6858001"/>
                </a:lnTo>
                <a:lnTo>
                  <a:pt x="5109968" y="6858001"/>
                </a:lnTo>
                <a:lnTo>
                  <a:pt x="5079851" y="6701542"/>
                </a:lnTo>
                <a:cubicBezTo>
                  <a:pt x="5033899" y="6740424"/>
                  <a:pt x="4982648" y="6775181"/>
                  <a:pt x="4926092" y="6805815"/>
                </a:cubicBezTo>
                <a:lnTo>
                  <a:pt x="4802339" y="6858001"/>
                </a:lnTo>
                <a:lnTo>
                  <a:pt x="3808692" y="6858001"/>
                </a:lnTo>
                <a:lnTo>
                  <a:pt x="3702214" y="6798304"/>
                </a:lnTo>
                <a:cubicBezTo>
                  <a:pt x="3632699" y="6749113"/>
                  <a:pt x="3579531" y="6688435"/>
                  <a:pt x="3542712" y="6616269"/>
                </a:cubicBezTo>
                <a:cubicBezTo>
                  <a:pt x="3505893" y="6544102"/>
                  <a:pt x="3487483" y="6461479"/>
                  <a:pt x="3487483" y="6368400"/>
                </a:cubicBezTo>
                <a:cubicBezTo>
                  <a:pt x="3487483" y="6291226"/>
                  <a:pt x="3500885" y="6222889"/>
                  <a:pt x="3527690" y="6163389"/>
                </a:cubicBezTo>
                <a:cubicBezTo>
                  <a:pt x="3554495" y="6103889"/>
                  <a:pt x="3592786" y="6052047"/>
                  <a:pt x="3642566" y="6007864"/>
                </a:cubicBezTo>
                <a:cubicBezTo>
                  <a:pt x="3692346" y="5963680"/>
                  <a:pt x="3752583" y="5926419"/>
                  <a:pt x="3823277" y="5896080"/>
                </a:cubicBezTo>
                <a:cubicBezTo>
                  <a:pt x="3893970" y="5865741"/>
                  <a:pt x="3973205" y="5841293"/>
                  <a:pt x="4060983" y="5822736"/>
                </a:cubicBezTo>
                <a:cubicBezTo>
                  <a:pt x="4148760" y="5804179"/>
                  <a:pt x="4244196" y="5790924"/>
                  <a:pt x="4347292" y="5782971"/>
                </a:cubicBezTo>
                <a:cubicBezTo>
                  <a:pt x="4450386" y="5775018"/>
                  <a:pt x="4559371" y="5771041"/>
                  <a:pt x="4674249" y="5771041"/>
                </a:cubicBezTo>
                <a:cubicBezTo>
                  <a:pt x="4721377" y="5771041"/>
                  <a:pt x="4767475" y="5771630"/>
                  <a:pt x="4812541" y="5772808"/>
                </a:cubicBezTo>
                <a:cubicBezTo>
                  <a:pt x="4857609" y="5773986"/>
                  <a:pt x="4899291" y="5775459"/>
                  <a:pt x="4937582" y="5777227"/>
                </a:cubicBezTo>
                <a:cubicBezTo>
                  <a:pt x="4975872" y="5778994"/>
                  <a:pt x="5013575" y="5780761"/>
                  <a:pt x="5050691" y="5782529"/>
                </a:cubicBezTo>
                <a:lnTo>
                  <a:pt x="5050691" y="5778994"/>
                </a:lnTo>
                <a:cubicBezTo>
                  <a:pt x="5050691" y="5713603"/>
                  <a:pt x="5038319" y="5657490"/>
                  <a:pt x="5013575" y="5610656"/>
                </a:cubicBezTo>
                <a:cubicBezTo>
                  <a:pt x="4988833" y="5563821"/>
                  <a:pt x="4952160" y="5525235"/>
                  <a:pt x="4903558" y="5494895"/>
                </a:cubicBezTo>
                <a:cubicBezTo>
                  <a:pt x="4854958" y="5464556"/>
                  <a:pt x="4794575" y="5442170"/>
                  <a:pt x="4722407" y="5427736"/>
                </a:cubicBezTo>
                <a:cubicBezTo>
                  <a:pt x="4650243" y="5413303"/>
                  <a:pt x="4566735" y="5406087"/>
                  <a:pt x="4471888" y="5406087"/>
                </a:cubicBezTo>
                <a:cubicBezTo>
                  <a:pt x="4392947" y="5406087"/>
                  <a:pt x="4317541" y="5409916"/>
                  <a:pt x="4245670" y="5417574"/>
                </a:cubicBezTo>
                <a:cubicBezTo>
                  <a:pt x="4173797" y="5425233"/>
                  <a:pt x="4105018" y="5435837"/>
                  <a:pt x="4039333" y="5449386"/>
                </a:cubicBezTo>
                <a:cubicBezTo>
                  <a:pt x="3973647" y="5462936"/>
                  <a:pt x="3911201" y="5478989"/>
                  <a:pt x="3851995" y="5497546"/>
                </a:cubicBezTo>
                <a:cubicBezTo>
                  <a:pt x="3792790" y="5516103"/>
                  <a:pt x="3736382" y="5536280"/>
                  <a:pt x="3682773" y="5558077"/>
                </a:cubicBezTo>
                <a:lnTo>
                  <a:pt x="3682773" y="5152474"/>
                </a:lnTo>
                <a:cubicBezTo>
                  <a:pt x="3735204" y="5125964"/>
                  <a:pt x="3792937" y="5101810"/>
                  <a:pt x="3855972" y="5080014"/>
                </a:cubicBezTo>
                <a:cubicBezTo>
                  <a:pt x="3919007" y="5058217"/>
                  <a:pt x="3986460" y="5039512"/>
                  <a:pt x="4058331" y="5023901"/>
                </a:cubicBezTo>
                <a:cubicBezTo>
                  <a:pt x="4130203" y="5008289"/>
                  <a:pt x="4205613" y="4996212"/>
                  <a:pt x="4284552" y="4987670"/>
                </a:cubicBezTo>
                <a:cubicBezTo>
                  <a:pt x="4363491" y="4979128"/>
                  <a:pt x="4445084" y="4974857"/>
                  <a:pt x="4529327" y="4974857"/>
                </a:cubicBezTo>
                <a:close/>
                <a:moveTo>
                  <a:pt x="927332" y="4696502"/>
                </a:moveTo>
                <a:lnTo>
                  <a:pt x="927332" y="6462069"/>
                </a:lnTo>
                <a:lnTo>
                  <a:pt x="1502599" y="6462069"/>
                </a:lnTo>
                <a:cubicBezTo>
                  <a:pt x="1626313" y="6462069"/>
                  <a:pt x="1736476" y="6452353"/>
                  <a:pt x="1833091" y="6432921"/>
                </a:cubicBezTo>
                <a:cubicBezTo>
                  <a:pt x="1929704" y="6413490"/>
                  <a:pt x="2014242" y="6385521"/>
                  <a:pt x="2086703" y="6349015"/>
                </a:cubicBezTo>
                <a:cubicBezTo>
                  <a:pt x="2159163" y="6312508"/>
                  <a:pt x="2220725" y="6268200"/>
                  <a:pt x="2271390" y="6216091"/>
                </a:cubicBezTo>
                <a:cubicBezTo>
                  <a:pt x="2322053" y="6163983"/>
                  <a:pt x="2362996" y="6105102"/>
                  <a:pt x="2394219" y="6039448"/>
                </a:cubicBezTo>
                <a:cubicBezTo>
                  <a:pt x="2425442" y="5973794"/>
                  <a:pt x="2448123" y="5902399"/>
                  <a:pt x="2462262" y="5825262"/>
                </a:cubicBezTo>
                <a:cubicBezTo>
                  <a:pt x="2476400" y="5748126"/>
                  <a:pt x="2483469" y="5665986"/>
                  <a:pt x="2483469" y="5578844"/>
                </a:cubicBezTo>
                <a:cubicBezTo>
                  <a:pt x="2483469" y="5491701"/>
                  <a:pt x="2476400" y="5409561"/>
                  <a:pt x="2462262" y="5332425"/>
                </a:cubicBezTo>
                <a:cubicBezTo>
                  <a:pt x="2448123" y="5255288"/>
                  <a:pt x="2425442" y="5184040"/>
                  <a:pt x="2394219" y="5118681"/>
                </a:cubicBezTo>
                <a:cubicBezTo>
                  <a:pt x="2362996" y="5053322"/>
                  <a:pt x="2322053" y="4994588"/>
                  <a:pt x="2271390" y="4942479"/>
                </a:cubicBezTo>
                <a:cubicBezTo>
                  <a:pt x="2220725" y="4890370"/>
                  <a:pt x="2159163" y="4846063"/>
                  <a:pt x="2086703" y="4809556"/>
                </a:cubicBezTo>
                <a:cubicBezTo>
                  <a:pt x="2014242" y="4773050"/>
                  <a:pt x="1929704" y="4745081"/>
                  <a:pt x="1833091" y="4725649"/>
                </a:cubicBezTo>
                <a:cubicBezTo>
                  <a:pt x="1736476" y="4706218"/>
                  <a:pt x="1626313" y="4696502"/>
                  <a:pt x="1502599" y="4696502"/>
                </a:cubicBezTo>
                <a:close/>
                <a:moveTo>
                  <a:pt x="11857474" y="4268807"/>
                </a:moveTo>
                <a:lnTo>
                  <a:pt x="12192001" y="4268807"/>
                </a:lnTo>
                <a:lnTo>
                  <a:pt x="12192001" y="6064419"/>
                </a:lnTo>
                <a:lnTo>
                  <a:pt x="11976769" y="6064419"/>
                </a:lnTo>
                <a:lnTo>
                  <a:pt x="11921981" y="5724207"/>
                </a:lnTo>
                <a:cubicBezTo>
                  <a:pt x="11917268" y="5695340"/>
                  <a:pt x="11912408" y="5661025"/>
                  <a:pt x="11907401" y="5621260"/>
                </a:cubicBezTo>
                <a:cubicBezTo>
                  <a:pt x="11902393" y="5581495"/>
                  <a:pt x="11897533" y="5538637"/>
                  <a:pt x="11892820" y="5492686"/>
                </a:cubicBezTo>
                <a:cubicBezTo>
                  <a:pt x="11888107" y="5446735"/>
                  <a:pt x="11883541" y="5398723"/>
                  <a:pt x="11879124" y="5348648"/>
                </a:cubicBezTo>
                <a:cubicBezTo>
                  <a:pt x="11874704" y="5298574"/>
                  <a:pt x="11870875" y="5248352"/>
                  <a:pt x="11867636" y="5197983"/>
                </a:cubicBezTo>
                <a:cubicBezTo>
                  <a:pt x="11864395" y="5147614"/>
                  <a:pt x="11861892" y="5098276"/>
                  <a:pt x="11860125" y="5049969"/>
                </a:cubicBezTo>
                <a:cubicBezTo>
                  <a:pt x="11858357" y="5001662"/>
                  <a:pt x="11857474" y="4956300"/>
                  <a:pt x="11857474" y="4913884"/>
                </a:cubicBezTo>
                <a:close/>
                <a:moveTo>
                  <a:pt x="9179190" y="4268807"/>
                </a:moveTo>
                <a:lnTo>
                  <a:pt x="9747387" y="4268807"/>
                </a:lnTo>
                <a:lnTo>
                  <a:pt x="9747387" y="5789211"/>
                </a:lnTo>
                <a:lnTo>
                  <a:pt x="10670819" y="5033179"/>
                </a:lnTo>
                <a:lnTo>
                  <a:pt x="11413100" y="5033179"/>
                </a:lnTo>
                <a:lnTo>
                  <a:pt x="10580685" y="5698235"/>
                </a:lnTo>
                <a:cubicBezTo>
                  <a:pt x="10558889" y="5715319"/>
                  <a:pt x="10537239" y="5732399"/>
                  <a:pt x="10515736" y="5749474"/>
                </a:cubicBezTo>
                <a:cubicBezTo>
                  <a:pt x="10494234" y="5766549"/>
                  <a:pt x="10472878" y="5783477"/>
                  <a:pt x="10451670" y="5800257"/>
                </a:cubicBezTo>
                <a:cubicBezTo>
                  <a:pt x="10430462" y="5817038"/>
                  <a:pt x="10409254" y="5833818"/>
                  <a:pt x="10388046" y="5850598"/>
                </a:cubicBezTo>
                <a:cubicBezTo>
                  <a:pt x="10366838" y="5867379"/>
                  <a:pt x="10345336" y="5884307"/>
                  <a:pt x="10323538" y="5901382"/>
                </a:cubicBezTo>
                <a:cubicBezTo>
                  <a:pt x="10344158" y="5919654"/>
                  <a:pt x="10365071" y="5938072"/>
                  <a:pt x="10386279" y="5956638"/>
                </a:cubicBezTo>
                <a:cubicBezTo>
                  <a:pt x="10407487" y="5975205"/>
                  <a:pt x="10428695" y="5993769"/>
                  <a:pt x="10449903" y="6012330"/>
                </a:cubicBezTo>
                <a:cubicBezTo>
                  <a:pt x="10471111" y="6030892"/>
                  <a:pt x="10492319" y="6049308"/>
                  <a:pt x="10513527" y="6067580"/>
                </a:cubicBezTo>
                <a:cubicBezTo>
                  <a:pt x="10534735" y="6085852"/>
                  <a:pt x="10555649" y="6104124"/>
                  <a:pt x="10576267" y="6122395"/>
                </a:cubicBezTo>
                <a:lnTo>
                  <a:pt x="11405568" y="6858001"/>
                </a:lnTo>
                <a:lnTo>
                  <a:pt x="10615100" y="6858001"/>
                </a:lnTo>
                <a:lnTo>
                  <a:pt x="9747387" y="6038406"/>
                </a:lnTo>
                <a:lnTo>
                  <a:pt x="9747387" y="6858001"/>
                </a:lnTo>
                <a:lnTo>
                  <a:pt x="9179190" y="6858001"/>
                </a:lnTo>
                <a:close/>
                <a:moveTo>
                  <a:pt x="347646" y="4268807"/>
                </a:moveTo>
                <a:lnTo>
                  <a:pt x="1621894" y="4268807"/>
                </a:lnTo>
                <a:cubicBezTo>
                  <a:pt x="1789791" y="4268807"/>
                  <a:pt x="1942224" y="4283241"/>
                  <a:pt x="2079191" y="4312107"/>
                </a:cubicBezTo>
                <a:cubicBezTo>
                  <a:pt x="2216160" y="4340974"/>
                  <a:pt x="2338549" y="4382211"/>
                  <a:pt x="2446355" y="4435820"/>
                </a:cubicBezTo>
                <a:cubicBezTo>
                  <a:pt x="2554163" y="4489429"/>
                  <a:pt x="2647684" y="4554379"/>
                  <a:pt x="2726920" y="4630669"/>
                </a:cubicBezTo>
                <a:cubicBezTo>
                  <a:pt x="2806155" y="4706959"/>
                  <a:pt x="2871694" y="4792822"/>
                  <a:pt x="2923536" y="4888258"/>
                </a:cubicBezTo>
                <a:cubicBezTo>
                  <a:pt x="2975378" y="4983694"/>
                  <a:pt x="3013964" y="5087378"/>
                  <a:pt x="3039296" y="5199309"/>
                </a:cubicBezTo>
                <a:cubicBezTo>
                  <a:pt x="3064628" y="5311240"/>
                  <a:pt x="3077294" y="5429651"/>
                  <a:pt x="3077294" y="5554543"/>
                </a:cubicBezTo>
                <a:cubicBezTo>
                  <a:pt x="3077294" y="5677078"/>
                  <a:pt x="3064333" y="5795047"/>
                  <a:pt x="3038412" y="5908451"/>
                </a:cubicBezTo>
                <a:cubicBezTo>
                  <a:pt x="3012491" y="6021855"/>
                  <a:pt x="2973021" y="6128043"/>
                  <a:pt x="2920000" y="6227013"/>
                </a:cubicBezTo>
                <a:cubicBezTo>
                  <a:pt x="2866981" y="6325984"/>
                  <a:pt x="2799822" y="6416118"/>
                  <a:pt x="2718525" y="6497415"/>
                </a:cubicBezTo>
                <a:cubicBezTo>
                  <a:pt x="2637227" y="6578713"/>
                  <a:pt x="2541350" y="6648522"/>
                  <a:pt x="2430891" y="6706844"/>
                </a:cubicBezTo>
                <a:cubicBezTo>
                  <a:pt x="2320433" y="6765166"/>
                  <a:pt x="2194952" y="6810233"/>
                  <a:pt x="2054449" y="6842045"/>
                </a:cubicBezTo>
                <a:lnTo>
                  <a:pt x="1955219" y="6858001"/>
                </a:lnTo>
                <a:lnTo>
                  <a:pt x="347646" y="6858001"/>
                </a:lnTo>
                <a:close/>
                <a:moveTo>
                  <a:pt x="8680151" y="852551"/>
                </a:moveTo>
                <a:cubicBezTo>
                  <a:pt x="8607101" y="852551"/>
                  <a:pt x="8539647" y="860062"/>
                  <a:pt x="8477792" y="875084"/>
                </a:cubicBezTo>
                <a:cubicBezTo>
                  <a:pt x="8415934" y="890106"/>
                  <a:pt x="8361294" y="913229"/>
                  <a:pt x="8313871" y="944452"/>
                </a:cubicBezTo>
                <a:cubicBezTo>
                  <a:pt x="8266448" y="975675"/>
                  <a:pt x="8226829" y="1015145"/>
                  <a:pt x="8195018" y="1062863"/>
                </a:cubicBezTo>
                <a:cubicBezTo>
                  <a:pt x="8163205" y="1110581"/>
                  <a:pt x="8140525" y="1167136"/>
                  <a:pt x="8126977" y="1232527"/>
                </a:cubicBezTo>
                <a:lnTo>
                  <a:pt x="9237745" y="1232527"/>
                </a:lnTo>
                <a:cubicBezTo>
                  <a:pt x="9224195" y="1167136"/>
                  <a:pt x="9201367" y="1110581"/>
                  <a:pt x="9169261" y="1062863"/>
                </a:cubicBezTo>
                <a:cubicBezTo>
                  <a:pt x="9137155" y="1015145"/>
                  <a:pt x="9097095" y="975675"/>
                  <a:pt x="9049082" y="944452"/>
                </a:cubicBezTo>
                <a:cubicBezTo>
                  <a:pt x="9001069" y="913229"/>
                  <a:pt x="8945840" y="890106"/>
                  <a:pt x="8883395" y="875084"/>
                </a:cubicBezTo>
                <a:cubicBezTo>
                  <a:pt x="8820949" y="860062"/>
                  <a:pt x="8753202" y="852551"/>
                  <a:pt x="8680151" y="852551"/>
                </a:cubicBezTo>
                <a:close/>
                <a:moveTo>
                  <a:pt x="4517727" y="852551"/>
                </a:moveTo>
                <a:cubicBezTo>
                  <a:pt x="4444677" y="852551"/>
                  <a:pt x="4377225" y="860062"/>
                  <a:pt x="4315368" y="875084"/>
                </a:cubicBezTo>
                <a:cubicBezTo>
                  <a:pt x="4253511" y="890106"/>
                  <a:pt x="4198871" y="913229"/>
                  <a:pt x="4151447" y="944452"/>
                </a:cubicBezTo>
                <a:cubicBezTo>
                  <a:pt x="4104023" y="975675"/>
                  <a:pt x="4064406" y="1015145"/>
                  <a:pt x="4032594" y="1062863"/>
                </a:cubicBezTo>
                <a:cubicBezTo>
                  <a:pt x="4000782" y="1110581"/>
                  <a:pt x="3978101" y="1167136"/>
                  <a:pt x="3964552" y="1232527"/>
                </a:cubicBezTo>
                <a:lnTo>
                  <a:pt x="5075322" y="1232527"/>
                </a:lnTo>
                <a:cubicBezTo>
                  <a:pt x="5061772" y="1167136"/>
                  <a:pt x="5038943" y="1110581"/>
                  <a:pt x="5006837" y="1062863"/>
                </a:cubicBezTo>
                <a:cubicBezTo>
                  <a:pt x="4974732" y="1015145"/>
                  <a:pt x="4934670" y="975675"/>
                  <a:pt x="4886660" y="944452"/>
                </a:cubicBezTo>
                <a:cubicBezTo>
                  <a:pt x="4838645" y="913229"/>
                  <a:pt x="4783416" y="890106"/>
                  <a:pt x="4720970" y="875084"/>
                </a:cubicBezTo>
                <a:cubicBezTo>
                  <a:pt x="4658526" y="860062"/>
                  <a:pt x="4590776" y="852551"/>
                  <a:pt x="4517727" y="852551"/>
                </a:cubicBezTo>
                <a:close/>
                <a:moveTo>
                  <a:pt x="2264041" y="508804"/>
                </a:moveTo>
                <a:lnTo>
                  <a:pt x="2832239" y="508804"/>
                </a:lnTo>
                <a:lnTo>
                  <a:pt x="2832239" y="2365388"/>
                </a:lnTo>
                <a:lnTo>
                  <a:pt x="2264041" y="2365388"/>
                </a:lnTo>
                <a:close/>
                <a:moveTo>
                  <a:pt x="11655254" y="450482"/>
                </a:moveTo>
                <a:cubicBezTo>
                  <a:pt x="11737729" y="450482"/>
                  <a:pt x="11818142" y="455490"/>
                  <a:pt x="11896495" y="465504"/>
                </a:cubicBezTo>
                <a:cubicBezTo>
                  <a:pt x="11974846" y="475519"/>
                  <a:pt x="12048632" y="492456"/>
                  <a:pt x="12117853" y="516315"/>
                </a:cubicBezTo>
                <a:lnTo>
                  <a:pt x="12192001" y="547588"/>
                </a:lnTo>
                <a:lnTo>
                  <a:pt x="12192001" y="2365388"/>
                </a:lnTo>
                <a:lnTo>
                  <a:pt x="12021092" y="2365388"/>
                </a:lnTo>
                <a:lnTo>
                  <a:pt x="12021092" y="1344753"/>
                </a:lnTo>
                <a:cubicBezTo>
                  <a:pt x="12021092" y="1266990"/>
                  <a:pt x="12011960" y="1199390"/>
                  <a:pt x="11993698" y="1141951"/>
                </a:cubicBezTo>
                <a:cubicBezTo>
                  <a:pt x="11975434" y="1084513"/>
                  <a:pt x="11946715" y="1036795"/>
                  <a:pt x="11907540" y="998797"/>
                </a:cubicBezTo>
                <a:cubicBezTo>
                  <a:pt x="11868364" y="960800"/>
                  <a:pt x="11818142" y="932375"/>
                  <a:pt x="11756875" y="913524"/>
                </a:cubicBezTo>
                <a:cubicBezTo>
                  <a:pt x="11695607" y="894672"/>
                  <a:pt x="11621968" y="885246"/>
                  <a:pt x="11535958" y="885246"/>
                </a:cubicBezTo>
                <a:cubicBezTo>
                  <a:pt x="11468210" y="885246"/>
                  <a:pt x="11404880" y="889517"/>
                  <a:pt x="11345970" y="898059"/>
                </a:cubicBezTo>
                <a:cubicBezTo>
                  <a:pt x="11287059" y="906602"/>
                  <a:pt x="11231977" y="917942"/>
                  <a:pt x="11180724" y="932081"/>
                </a:cubicBezTo>
                <a:cubicBezTo>
                  <a:pt x="11129472" y="946219"/>
                  <a:pt x="11081458" y="962715"/>
                  <a:pt x="11036687" y="981566"/>
                </a:cubicBezTo>
                <a:cubicBezTo>
                  <a:pt x="10991913" y="1000418"/>
                  <a:pt x="10949497" y="1020153"/>
                  <a:pt x="10909439" y="1040772"/>
                </a:cubicBezTo>
                <a:lnTo>
                  <a:pt x="10909439" y="2365388"/>
                </a:lnTo>
                <a:lnTo>
                  <a:pt x="10341241" y="2365388"/>
                </a:lnTo>
                <a:lnTo>
                  <a:pt x="10341241" y="508804"/>
                </a:lnTo>
                <a:lnTo>
                  <a:pt x="10837862" y="508804"/>
                </a:lnTo>
                <a:lnTo>
                  <a:pt x="10877627" y="721768"/>
                </a:lnTo>
                <a:cubicBezTo>
                  <a:pt x="10924754" y="679352"/>
                  <a:pt x="10976890" y="641354"/>
                  <a:pt x="11034036" y="607775"/>
                </a:cubicBezTo>
                <a:cubicBezTo>
                  <a:pt x="11091179" y="574196"/>
                  <a:pt x="11152447" y="545771"/>
                  <a:pt x="11217838" y="522501"/>
                </a:cubicBezTo>
                <a:cubicBezTo>
                  <a:pt x="11283230" y="499231"/>
                  <a:pt x="11352598" y="481410"/>
                  <a:pt x="11425942" y="469039"/>
                </a:cubicBezTo>
                <a:cubicBezTo>
                  <a:pt x="11499286" y="456668"/>
                  <a:pt x="11575724" y="450482"/>
                  <a:pt x="11655254" y="450482"/>
                </a:cubicBezTo>
                <a:close/>
                <a:moveTo>
                  <a:pt x="8680151" y="450482"/>
                </a:moveTo>
                <a:cubicBezTo>
                  <a:pt x="8812700" y="450482"/>
                  <a:pt x="8933027" y="461823"/>
                  <a:pt x="9041129" y="484503"/>
                </a:cubicBezTo>
                <a:cubicBezTo>
                  <a:pt x="9149231" y="507184"/>
                  <a:pt x="9245551" y="539143"/>
                  <a:pt x="9330088" y="580381"/>
                </a:cubicBezTo>
                <a:cubicBezTo>
                  <a:pt x="9414625" y="621619"/>
                  <a:pt x="9487675" y="671252"/>
                  <a:pt x="9549238" y="729279"/>
                </a:cubicBezTo>
                <a:cubicBezTo>
                  <a:pt x="9610799" y="787307"/>
                  <a:pt x="9661758" y="851814"/>
                  <a:pt x="9702112" y="922802"/>
                </a:cubicBezTo>
                <a:cubicBezTo>
                  <a:pt x="9742467" y="993790"/>
                  <a:pt x="9772364" y="1070375"/>
                  <a:pt x="9791804" y="1152556"/>
                </a:cubicBezTo>
                <a:cubicBezTo>
                  <a:pt x="9811245" y="1234737"/>
                  <a:pt x="9820966" y="1320599"/>
                  <a:pt x="9820966" y="1410144"/>
                </a:cubicBezTo>
                <a:cubicBezTo>
                  <a:pt x="9820966" y="1427229"/>
                  <a:pt x="9820671" y="1443577"/>
                  <a:pt x="9820082" y="1459188"/>
                </a:cubicBezTo>
                <a:cubicBezTo>
                  <a:pt x="9819492" y="1474799"/>
                  <a:pt x="9818755" y="1489969"/>
                  <a:pt x="9817873" y="1504697"/>
                </a:cubicBezTo>
                <a:cubicBezTo>
                  <a:pt x="9816988" y="1519425"/>
                  <a:pt x="9815810" y="1533269"/>
                  <a:pt x="9814338" y="1546229"/>
                </a:cubicBezTo>
                <a:cubicBezTo>
                  <a:pt x="9812865" y="1559190"/>
                  <a:pt x="9811244" y="1571561"/>
                  <a:pt x="9809478" y="1583343"/>
                </a:cubicBezTo>
                <a:lnTo>
                  <a:pt x="8119024" y="1583343"/>
                </a:lnTo>
                <a:cubicBezTo>
                  <a:pt x="8126092" y="1645789"/>
                  <a:pt x="8144208" y="1702049"/>
                  <a:pt x="8173369" y="1752123"/>
                </a:cubicBezTo>
                <a:cubicBezTo>
                  <a:pt x="8202530" y="1802198"/>
                  <a:pt x="8244209" y="1844761"/>
                  <a:pt x="8298407" y="1879813"/>
                </a:cubicBezTo>
                <a:cubicBezTo>
                  <a:pt x="8352605" y="1914866"/>
                  <a:pt x="8420352" y="1941817"/>
                  <a:pt x="8501651" y="1960669"/>
                </a:cubicBezTo>
                <a:cubicBezTo>
                  <a:pt x="8582947" y="1979521"/>
                  <a:pt x="8679856" y="1988946"/>
                  <a:pt x="8792377" y="1988946"/>
                </a:cubicBezTo>
                <a:cubicBezTo>
                  <a:pt x="8873674" y="1988946"/>
                  <a:pt x="8954382" y="1985264"/>
                  <a:pt x="9034502" y="1977900"/>
                </a:cubicBezTo>
                <a:cubicBezTo>
                  <a:pt x="9114620" y="1970537"/>
                  <a:pt x="9191647" y="1960227"/>
                  <a:pt x="9265581" y="1946972"/>
                </a:cubicBezTo>
                <a:cubicBezTo>
                  <a:pt x="9339513" y="1933717"/>
                  <a:pt x="9409323" y="1918106"/>
                  <a:pt x="9475010" y="1900138"/>
                </a:cubicBezTo>
                <a:cubicBezTo>
                  <a:pt x="9540695" y="1882170"/>
                  <a:pt x="9600343" y="1862287"/>
                  <a:pt x="9653952" y="1840490"/>
                </a:cubicBezTo>
                <a:lnTo>
                  <a:pt x="9653952" y="2246093"/>
                </a:lnTo>
                <a:cubicBezTo>
                  <a:pt x="9600343" y="2272604"/>
                  <a:pt x="9537897" y="2296462"/>
                  <a:pt x="9466615" y="2317670"/>
                </a:cubicBezTo>
                <a:cubicBezTo>
                  <a:pt x="9395332" y="2338878"/>
                  <a:pt x="9319190" y="2356994"/>
                  <a:pt x="9238187" y="2372016"/>
                </a:cubicBezTo>
                <a:cubicBezTo>
                  <a:pt x="9157184" y="2387038"/>
                  <a:pt x="9073088" y="2398673"/>
                  <a:pt x="8985900" y="2406921"/>
                </a:cubicBezTo>
                <a:cubicBezTo>
                  <a:pt x="8898711" y="2415168"/>
                  <a:pt x="8812700" y="2419292"/>
                  <a:pt x="8727869" y="2419292"/>
                </a:cubicBezTo>
                <a:cubicBezTo>
                  <a:pt x="8595318" y="2419292"/>
                  <a:pt x="8473962" y="2408099"/>
                  <a:pt x="8363799" y="2385713"/>
                </a:cubicBezTo>
                <a:cubicBezTo>
                  <a:pt x="8253634" y="2363327"/>
                  <a:pt x="8154664" y="2331662"/>
                  <a:pt x="8066887" y="2290718"/>
                </a:cubicBezTo>
                <a:cubicBezTo>
                  <a:pt x="7979108" y="2249775"/>
                  <a:pt x="7902524" y="2200143"/>
                  <a:pt x="7837133" y="2141821"/>
                </a:cubicBezTo>
                <a:cubicBezTo>
                  <a:pt x="7771742" y="2083499"/>
                  <a:pt x="7717249" y="2018255"/>
                  <a:pt x="7673655" y="1946088"/>
                </a:cubicBezTo>
                <a:cubicBezTo>
                  <a:pt x="7630060" y="1873922"/>
                  <a:pt x="7597512" y="1795865"/>
                  <a:pt x="7576011" y="1711917"/>
                </a:cubicBezTo>
                <a:cubicBezTo>
                  <a:pt x="7554507" y="1627969"/>
                  <a:pt x="7543757" y="1539454"/>
                  <a:pt x="7543757" y="1446375"/>
                </a:cubicBezTo>
                <a:cubicBezTo>
                  <a:pt x="7543757" y="1359186"/>
                  <a:pt x="7553624" y="1273913"/>
                  <a:pt x="7573360" y="1190553"/>
                </a:cubicBezTo>
                <a:cubicBezTo>
                  <a:pt x="7593094" y="1107194"/>
                  <a:pt x="7623286" y="1028695"/>
                  <a:pt x="7663935" y="955056"/>
                </a:cubicBezTo>
                <a:cubicBezTo>
                  <a:pt x="7704583" y="881417"/>
                  <a:pt x="7755835" y="813669"/>
                  <a:pt x="7817693" y="751812"/>
                </a:cubicBezTo>
                <a:cubicBezTo>
                  <a:pt x="7879549" y="689956"/>
                  <a:pt x="7952451" y="636641"/>
                  <a:pt x="8036401" y="591869"/>
                </a:cubicBezTo>
                <a:cubicBezTo>
                  <a:pt x="8120347" y="547097"/>
                  <a:pt x="8215931" y="512339"/>
                  <a:pt x="8323150" y="487596"/>
                </a:cubicBezTo>
                <a:cubicBezTo>
                  <a:pt x="8430368" y="462853"/>
                  <a:pt x="8549368" y="450482"/>
                  <a:pt x="8680151" y="450482"/>
                </a:cubicBezTo>
                <a:close/>
                <a:moveTo>
                  <a:pt x="4517727" y="450482"/>
                </a:moveTo>
                <a:cubicBezTo>
                  <a:pt x="4650278" y="450482"/>
                  <a:pt x="4770603" y="461823"/>
                  <a:pt x="4878705" y="484503"/>
                </a:cubicBezTo>
                <a:cubicBezTo>
                  <a:pt x="4986808" y="507184"/>
                  <a:pt x="5083126" y="539143"/>
                  <a:pt x="5167664" y="580381"/>
                </a:cubicBezTo>
                <a:cubicBezTo>
                  <a:pt x="5252201" y="621619"/>
                  <a:pt x="5325251" y="671252"/>
                  <a:pt x="5386813" y="729279"/>
                </a:cubicBezTo>
                <a:cubicBezTo>
                  <a:pt x="5448375" y="787307"/>
                  <a:pt x="5499334" y="851814"/>
                  <a:pt x="5539689" y="922802"/>
                </a:cubicBezTo>
                <a:cubicBezTo>
                  <a:pt x="5580042" y="993790"/>
                  <a:pt x="5609939" y="1070375"/>
                  <a:pt x="5629381" y="1152556"/>
                </a:cubicBezTo>
                <a:cubicBezTo>
                  <a:pt x="5648820" y="1234737"/>
                  <a:pt x="5658541" y="1320599"/>
                  <a:pt x="5658541" y="1410144"/>
                </a:cubicBezTo>
                <a:cubicBezTo>
                  <a:pt x="5658541" y="1427229"/>
                  <a:pt x="5658246" y="1443577"/>
                  <a:pt x="5657657" y="1459188"/>
                </a:cubicBezTo>
                <a:cubicBezTo>
                  <a:pt x="5657068" y="1474799"/>
                  <a:pt x="5656334" y="1489969"/>
                  <a:pt x="5655448" y="1504697"/>
                </a:cubicBezTo>
                <a:cubicBezTo>
                  <a:pt x="5654564" y="1519425"/>
                  <a:pt x="5653387" y="1533269"/>
                  <a:pt x="5651915" y="1546229"/>
                </a:cubicBezTo>
                <a:cubicBezTo>
                  <a:pt x="5650441" y="1559190"/>
                  <a:pt x="5648820" y="1571561"/>
                  <a:pt x="5647053" y="1583343"/>
                </a:cubicBezTo>
                <a:lnTo>
                  <a:pt x="3956599" y="1583343"/>
                </a:lnTo>
                <a:cubicBezTo>
                  <a:pt x="3963668" y="1645789"/>
                  <a:pt x="3981783" y="1702049"/>
                  <a:pt x="4010944" y="1752123"/>
                </a:cubicBezTo>
                <a:cubicBezTo>
                  <a:pt x="4040105" y="1802198"/>
                  <a:pt x="4081785" y="1844761"/>
                  <a:pt x="4135983" y="1879813"/>
                </a:cubicBezTo>
                <a:cubicBezTo>
                  <a:pt x="4190180" y="1914866"/>
                  <a:pt x="4257929" y="1941817"/>
                  <a:pt x="4339226" y="1960669"/>
                </a:cubicBezTo>
                <a:cubicBezTo>
                  <a:pt x="4420525" y="1979521"/>
                  <a:pt x="4517432" y="1988946"/>
                  <a:pt x="4629954" y="1988946"/>
                </a:cubicBezTo>
                <a:cubicBezTo>
                  <a:pt x="4711251" y="1988946"/>
                  <a:pt x="4791958" y="1985264"/>
                  <a:pt x="4872081" y="1977900"/>
                </a:cubicBezTo>
                <a:cubicBezTo>
                  <a:pt x="4952198" y="1970537"/>
                  <a:pt x="5029223" y="1960227"/>
                  <a:pt x="5103157" y="1946972"/>
                </a:cubicBezTo>
                <a:cubicBezTo>
                  <a:pt x="5177089" y="1933717"/>
                  <a:pt x="5246899" y="1918106"/>
                  <a:pt x="5312586" y="1900138"/>
                </a:cubicBezTo>
                <a:cubicBezTo>
                  <a:pt x="5378273" y="1882170"/>
                  <a:pt x="5437920" y="1862287"/>
                  <a:pt x="5491527" y="1840490"/>
                </a:cubicBezTo>
                <a:lnTo>
                  <a:pt x="5491527" y="2246093"/>
                </a:lnTo>
                <a:cubicBezTo>
                  <a:pt x="5437920" y="2272604"/>
                  <a:pt x="5375475" y="2296462"/>
                  <a:pt x="5304194" y="2317670"/>
                </a:cubicBezTo>
                <a:cubicBezTo>
                  <a:pt x="5232908" y="2338878"/>
                  <a:pt x="5156765" y="2356994"/>
                  <a:pt x="5075764" y="2372016"/>
                </a:cubicBezTo>
                <a:cubicBezTo>
                  <a:pt x="4994760" y="2387038"/>
                  <a:pt x="4910664" y="2398673"/>
                  <a:pt x="4823476" y="2406921"/>
                </a:cubicBezTo>
                <a:cubicBezTo>
                  <a:pt x="4736287" y="2415168"/>
                  <a:pt x="4650278" y="2419292"/>
                  <a:pt x="4565446" y="2419292"/>
                </a:cubicBezTo>
                <a:cubicBezTo>
                  <a:pt x="4432895" y="2419292"/>
                  <a:pt x="4311541" y="2408099"/>
                  <a:pt x="4201377" y="2385713"/>
                </a:cubicBezTo>
                <a:cubicBezTo>
                  <a:pt x="4091210" y="2363327"/>
                  <a:pt x="3992239" y="2331662"/>
                  <a:pt x="3904463" y="2290718"/>
                </a:cubicBezTo>
                <a:cubicBezTo>
                  <a:pt x="3816684" y="2249775"/>
                  <a:pt x="3740100" y="2200143"/>
                  <a:pt x="3674709" y="2141821"/>
                </a:cubicBezTo>
                <a:cubicBezTo>
                  <a:pt x="3609317" y="2083499"/>
                  <a:pt x="3554824" y="2018255"/>
                  <a:pt x="3511230" y="1946088"/>
                </a:cubicBezTo>
                <a:cubicBezTo>
                  <a:pt x="3467636" y="1873922"/>
                  <a:pt x="3435087" y="1795865"/>
                  <a:pt x="3413585" y="1711917"/>
                </a:cubicBezTo>
                <a:cubicBezTo>
                  <a:pt x="3392082" y="1627969"/>
                  <a:pt x="3381331" y="1539454"/>
                  <a:pt x="3381331" y="1446375"/>
                </a:cubicBezTo>
                <a:cubicBezTo>
                  <a:pt x="3381331" y="1359186"/>
                  <a:pt x="3391199" y="1273913"/>
                  <a:pt x="3410934" y="1190553"/>
                </a:cubicBezTo>
                <a:cubicBezTo>
                  <a:pt x="3430669" y="1107194"/>
                  <a:pt x="3460861" y="1028695"/>
                  <a:pt x="3501510" y="955056"/>
                </a:cubicBezTo>
                <a:cubicBezTo>
                  <a:pt x="3542159" y="881417"/>
                  <a:pt x="3593411" y="813669"/>
                  <a:pt x="3655268" y="751812"/>
                </a:cubicBezTo>
                <a:cubicBezTo>
                  <a:pt x="3717124" y="689956"/>
                  <a:pt x="3790027" y="636641"/>
                  <a:pt x="3873976" y="591869"/>
                </a:cubicBezTo>
                <a:cubicBezTo>
                  <a:pt x="3957924" y="547097"/>
                  <a:pt x="4053507" y="512339"/>
                  <a:pt x="4160726" y="487596"/>
                </a:cubicBezTo>
                <a:cubicBezTo>
                  <a:pt x="4267945" y="462853"/>
                  <a:pt x="4386944" y="450482"/>
                  <a:pt x="4517727" y="450482"/>
                </a:cubicBezTo>
                <a:close/>
                <a:moveTo>
                  <a:pt x="6157609" y="0"/>
                </a:moveTo>
                <a:lnTo>
                  <a:pt x="6725807" y="0"/>
                </a:lnTo>
                <a:lnTo>
                  <a:pt x="6725807" y="1760960"/>
                </a:lnTo>
                <a:cubicBezTo>
                  <a:pt x="6725807" y="1793361"/>
                  <a:pt x="6728752" y="1822817"/>
                  <a:pt x="6734643" y="1849327"/>
                </a:cubicBezTo>
                <a:cubicBezTo>
                  <a:pt x="6740534" y="1875837"/>
                  <a:pt x="6752904" y="1898370"/>
                  <a:pt x="6771757" y="1916927"/>
                </a:cubicBezTo>
                <a:cubicBezTo>
                  <a:pt x="6790607" y="1935484"/>
                  <a:pt x="6817559" y="1949770"/>
                  <a:pt x="6852611" y="1959785"/>
                </a:cubicBezTo>
                <a:cubicBezTo>
                  <a:pt x="6887663" y="1969800"/>
                  <a:pt x="6934645" y="1974808"/>
                  <a:pt x="6993557" y="1974808"/>
                </a:cubicBezTo>
                <a:cubicBezTo>
                  <a:pt x="7048344" y="1974808"/>
                  <a:pt x="7099891" y="1970831"/>
                  <a:pt x="7148199" y="1962878"/>
                </a:cubicBezTo>
                <a:cubicBezTo>
                  <a:pt x="7196505" y="1954925"/>
                  <a:pt x="7242750" y="1945647"/>
                  <a:pt x="7286934" y="1935043"/>
                </a:cubicBezTo>
                <a:lnTo>
                  <a:pt x="7286934" y="2332693"/>
                </a:lnTo>
                <a:cubicBezTo>
                  <a:pt x="7256301" y="2344475"/>
                  <a:pt x="7221984" y="2355226"/>
                  <a:pt x="7183986" y="2364947"/>
                </a:cubicBezTo>
                <a:cubicBezTo>
                  <a:pt x="7145990" y="2374667"/>
                  <a:pt x="7106077" y="2383062"/>
                  <a:pt x="7064250" y="2390131"/>
                </a:cubicBezTo>
                <a:cubicBezTo>
                  <a:pt x="7022423" y="2397200"/>
                  <a:pt x="6979418" y="2402650"/>
                  <a:pt x="6935235" y="2406479"/>
                </a:cubicBezTo>
                <a:cubicBezTo>
                  <a:pt x="6891052" y="2410308"/>
                  <a:pt x="6847752" y="2412223"/>
                  <a:pt x="6805336" y="2412223"/>
                </a:cubicBezTo>
                <a:cubicBezTo>
                  <a:pt x="6687514" y="2412223"/>
                  <a:pt x="6587659" y="2399262"/>
                  <a:pt x="6505773" y="2373341"/>
                </a:cubicBezTo>
                <a:cubicBezTo>
                  <a:pt x="6423886" y="2347420"/>
                  <a:pt x="6357021" y="2309865"/>
                  <a:pt x="6305181" y="2260674"/>
                </a:cubicBezTo>
                <a:cubicBezTo>
                  <a:pt x="6253339" y="2211483"/>
                  <a:pt x="6215783" y="2151246"/>
                  <a:pt x="6192514" y="2079964"/>
                </a:cubicBezTo>
                <a:cubicBezTo>
                  <a:pt x="6169242" y="2008682"/>
                  <a:pt x="6157609" y="1927679"/>
                  <a:pt x="6157609" y="1836955"/>
                </a:cubicBezTo>
                <a:close/>
                <a:moveTo>
                  <a:pt x="2264041" y="0"/>
                </a:moveTo>
                <a:lnTo>
                  <a:pt x="2832239" y="0"/>
                </a:lnTo>
                <a:lnTo>
                  <a:pt x="2832239" y="237518"/>
                </a:lnTo>
                <a:lnTo>
                  <a:pt x="2264041" y="237518"/>
                </a:lnTo>
                <a:close/>
                <a:moveTo>
                  <a:pt x="1165266" y="0"/>
                </a:moveTo>
                <a:lnTo>
                  <a:pt x="1795459" y="0"/>
                </a:lnTo>
                <a:lnTo>
                  <a:pt x="599681" y="2365388"/>
                </a:lnTo>
                <a:lnTo>
                  <a:pt x="0" y="2365388"/>
                </a:lnTo>
                <a:lnTo>
                  <a:pt x="0" y="1139294"/>
                </a:lnTo>
                <a:lnTo>
                  <a:pt x="176267" y="1507348"/>
                </a:lnTo>
                <a:cubicBezTo>
                  <a:pt x="198073" y="1554477"/>
                  <a:pt x="220321" y="1601606"/>
                  <a:pt x="243011" y="1648734"/>
                </a:cubicBezTo>
                <a:cubicBezTo>
                  <a:pt x="265701" y="1695864"/>
                  <a:pt x="287949" y="1742992"/>
                  <a:pt x="309756" y="1790121"/>
                </a:cubicBezTo>
                <a:cubicBezTo>
                  <a:pt x="331562" y="1742403"/>
                  <a:pt x="353957" y="1695274"/>
                  <a:pt x="376942" y="1648734"/>
                </a:cubicBezTo>
                <a:cubicBezTo>
                  <a:pt x="399927" y="1602195"/>
                  <a:pt x="422322" y="1555066"/>
                  <a:pt x="444128" y="1507348"/>
                </a:cubicBezTo>
                <a:close/>
              </a:path>
            </a:pathLst>
          </a:custGeom>
          <a:solidFill>
            <a:schemeClr val="bg1">
              <a:alpha val="7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</a:pPr>
            <a:endParaRPr lang="de-DE" sz="28500" b="1" i="0">
              <a:solidFill>
                <a:schemeClr val="bg1">
                  <a:alpha val="7000"/>
                </a:schemeClr>
              </a:solidFill>
              <a:latin typeface="Audi Type Extended" panose="020B0503040200000003" pitchFamily="34" charset="0"/>
              <a:cs typeface="Audi Type Extended" panose="020B0503040200000003" pitchFamily="34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F0D325-84D1-9B40-938B-AE57EE360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15845" y="3297957"/>
            <a:ext cx="9232900" cy="852805"/>
          </a:xfrm>
        </p:spPr>
        <p:txBody>
          <a:bodyPr anchor="ctr"/>
          <a:lstStyle>
            <a:lvl1pPr algn="r">
              <a:defRPr sz="6800" b="1" i="0">
                <a:solidFill>
                  <a:schemeClr val="bg1"/>
                </a:solidFill>
                <a:latin typeface="Audi Type Extended" panose="020B0503040200000003" pitchFamily="34" charset="0"/>
                <a:cs typeface="Audi Type Extended" panose="020B0503040200000003" pitchFamily="34" charset="0"/>
              </a:defRPr>
            </a:lvl1pPr>
          </a:lstStyle>
          <a:p>
            <a:pPr lvl="0"/>
            <a:r>
              <a:rPr lang="de-DE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161189645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5" y="4468478"/>
            <a:ext cx="11341100" cy="251767"/>
          </a:xfrm>
        </p:spPr>
        <p:txBody>
          <a:bodyPr anchor="t"/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Audi Type Extended Normal" panose="020B0505040200000003" pitchFamily="34" charset="0"/>
                <a:cs typeface="Audi Type Extended Normal" panose="020B05050402000000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Location | Dat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286245"/>
            <a:ext cx="11341099" cy="734426"/>
          </a:xfrm>
        </p:spPr>
        <p:txBody>
          <a:bodyPr anchor="t" anchorCtr="0"/>
          <a:lstStyle>
            <a:lvl1pPr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Title of the presentation</a:t>
            </a:r>
            <a:br>
              <a:rPr lang="en-GB" noProof="0"/>
            </a:br>
            <a:r>
              <a:rPr lang="en-GB" noProof="0"/>
              <a:t>(maximum two lines)</a:t>
            </a:r>
          </a:p>
        </p:txBody>
      </p:sp>
    </p:spTree>
    <p:extLst>
      <p:ext uri="{BB962C8B-B14F-4D97-AF65-F5344CB8AC3E}">
        <p14:creationId xmlns:p14="http://schemas.microsoft.com/office/powerpoint/2010/main" val="217650089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324" y="300396"/>
            <a:ext cx="11341101" cy="537804"/>
          </a:xfrm>
        </p:spPr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sp>
        <p:nvSpPr>
          <p:cNvPr id="4" name="Inhaltsplatzhalter 6"/>
          <p:cNvSpPr>
            <a:spLocks noGrp="1"/>
          </p:cNvSpPr>
          <p:nvPr>
            <p:ph sz="quarter" idx="13"/>
          </p:nvPr>
        </p:nvSpPr>
        <p:spPr bwMode="gray">
          <a:xfrm>
            <a:off x="695324" y="1089025"/>
            <a:ext cx="5493040" cy="5616574"/>
          </a:xfrm>
        </p:spPr>
        <p:txBody>
          <a:bodyPr/>
          <a:lstStyle>
            <a:lvl1pPr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  <a:lvl2pPr marL="216000" indent="-2160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 marL="432000" indent="-216000"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 marL="648000" indent="-216000"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 marL="864000" indent="-216000"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–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FB55AC34-8F56-CD40-A154-2542D581FDC6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6543385" y="1089025"/>
            <a:ext cx="5493040" cy="5616574"/>
          </a:xfrm>
        </p:spPr>
        <p:txBody>
          <a:bodyPr/>
          <a:lstStyle>
            <a:lvl1pPr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  <a:lvl2pPr marL="216000" indent="-2160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 marL="432000" indent="-216000"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 marL="648000" indent="-216000"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 marL="864000" indent="-216000"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–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49676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324" y="300396"/>
            <a:ext cx="11341101" cy="537804"/>
          </a:xfrm>
        </p:spPr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3DFDE1CC-3EFE-B048-BEED-6A94F90861DE}"/>
              </a:ext>
            </a:extLst>
          </p:cNvPr>
          <p:cNvCxnSpPr>
            <a:cxnSpLocks/>
          </p:cNvCxnSpPr>
          <p:nvPr userDrawn="1"/>
        </p:nvCxnSpPr>
        <p:spPr>
          <a:xfrm>
            <a:off x="695324" y="1374626"/>
            <a:ext cx="5493039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D3F7ABBF-FC26-7448-BCEF-CB9D612BC011}"/>
              </a:ext>
            </a:extLst>
          </p:cNvPr>
          <p:cNvCxnSpPr>
            <a:cxnSpLocks/>
          </p:cNvCxnSpPr>
          <p:nvPr userDrawn="1"/>
        </p:nvCxnSpPr>
        <p:spPr>
          <a:xfrm>
            <a:off x="6543386" y="1374626"/>
            <a:ext cx="5493039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6" name="Inhaltsplatzhalter 6">
            <a:extLst>
              <a:ext uri="{FF2B5EF4-FFF2-40B4-BE49-F238E27FC236}">
                <a16:creationId xmlns:a16="http://schemas.microsoft.com/office/drawing/2014/main" id="{EAC5495E-4C8C-0A47-A736-7D20FEE8A88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695324" y="1089025"/>
            <a:ext cx="5493040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sp>
        <p:nvSpPr>
          <p:cNvPr id="18" name="Inhaltsplatzhalter 6">
            <a:extLst>
              <a:ext uri="{FF2B5EF4-FFF2-40B4-BE49-F238E27FC236}">
                <a16:creationId xmlns:a16="http://schemas.microsoft.com/office/drawing/2014/main" id="{6C4129D9-8007-B749-8470-1235915ACCF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 bwMode="gray">
          <a:xfrm>
            <a:off x="6543385" y="1089025"/>
            <a:ext cx="5493040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15F82816-43AD-4345-97D4-B3DEB9BD07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5323" y="1482290"/>
            <a:ext cx="5493039" cy="5223307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28" name="Textplatzhalter 26">
            <a:extLst>
              <a:ext uri="{FF2B5EF4-FFF2-40B4-BE49-F238E27FC236}">
                <a16:creationId xmlns:a16="http://schemas.microsoft.com/office/drawing/2014/main" id="{26594C91-D06D-CF4A-A2E0-9B7102DD30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43386" y="1482290"/>
            <a:ext cx="5493039" cy="5223307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</p:spTree>
    <p:extLst>
      <p:ext uri="{BB962C8B-B14F-4D97-AF65-F5344CB8AC3E}">
        <p14:creationId xmlns:p14="http://schemas.microsoft.com/office/powerpoint/2010/main" val="1955172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324" y="300396"/>
            <a:ext cx="11341101" cy="537804"/>
          </a:xfrm>
        </p:spPr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3DFDE1CC-3EFE-B048-BEED-6A94F90861DE}"/>
              </a:ext>
            </a:extLst>
          </p:cNvPr>
          <p:cNvCxnSpPr>
            <a:cxnSpLocks/>
          </p:cNvCxnSpPr>
          <p:nvPr userDrawn="1"/>
        </p:nvCxnSpPr>
        <p:spPr>
          <a:xfrm>
            <a:off x="695324" y="1374626"/>
            <a:ext cx="352854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6" name="Inhaltsplatzhalter 6">
            <a:extLst>
              <a:ext uri="{FF2B5EF4-FFF2-40B4-BE49-F238E27FC236}">
                <a16:creationId xmlns:a16="http://schemas.microsoft.com/office/drawing/2014/main" id="{EAC5495E-4C8C-0A47-A736-7D20FEE8A88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695324" y="1089025"/>
            <a:ext cx="3528548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6C4D752E-3739-B14F-9294-BF870D8C8200}"/>
              </a:ext>
            </a:extLst>
          </p:cNvPr>
          <p:cNvCxnSpPr>
            <a:cxnSpLocks/>
          </p:cNvCxnSpPr>
          <p:nvPr userDrawn="1"/>
        </p:nvCxnSpPr>
        <p:spPr>
          <a:xfrm>
            <a:off x="4601601" y="1374626"/>
            <a:ext cx="352854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31" name="Inhaltsplatzhalter 6">
            <a:extLst>
              <a:ext uri="{FF2B5EF4-FFF2-40B4-BE49-F238E27FC236}">
                <a16:creationId xmlns:a16="http://schemas.microsoft.com/office/drawing/2014/main" id="{04A2E556-2514-AB47-8ECA-84036C67A3AE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4601600" y="1089025"/>
            <a:ext cx="3528548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329199C6-9301-B84E-84CC-4FC764296CCE}"/>
              </a:ext>
            </a:extLst>
          </p:cNvPr>
          <p:cNvCxnSpPr>
            <a:cxnSpLocks/>
          </p:cNvCxnSpPr>
          <p:nvPr userDrawn="1"/>
        </p:nvCxnSpPr>
        <p:spPr>
          <a:xfrm>
            <a:off x="8507878" y="1374626"/>
            <a:ext cx="352854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34" name="Inhaltsplatzhalter 6">
            <a:extLst>
              <a:ext uri="{FF2B5EF4-FFF2-40B4-BE49-F238E27FC236}">
                <a16:creationId xmlns:a16="http://schemas.microsoft.com/office/drawing/2014/main" id="{A719C8A6-AD1C-B844-A69E-AC402EA0AED5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 bwMode="gray">
          <a:xfrm>
            <a:off x="8507877" y="1089025"/>
            <a:ext cx="3528548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sp>
        <p:nvSpPr>
          <p:cNvPr id="35" name="Textplatzhalter 26">
            <a:extLst>
              <a:ext uri="{FF2B5EF4-FFF2-40B4-BE49-F238E27FC236}">
                <a16:creationId xmlns:a16="http://schemas.microsoft.com/office/drawing/2014/main" id="{492CBB1A-B357-D543-B689-FFF6A0E5DC8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324" y="1482290"/>
            <a:ext cx="3528548" cy="5223307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36" name="Textplatzhalter 26">
            <a:extLst>
              <a:ext uri="{FF2B5EF4-FFF2-40B4-BE49-F238E27FC236}">
                <a16:creationId xmlns:a16="http://schemas.microsoft.com/office/drawing/2014/main" id="{5398D6B6-3910-1E44-A818-6005BDE865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01600" y="1482290"/>
            <a:ext cx="3528548" cy="5223307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37" name="Textplatzhalter 26">
            <a:extLst>
              <a:ext uri="{FF2B5EF4-FFF2-40B4-BE49-F238E27FC236}">
                <a16:creationId xmlns:a16="http://schemas.microsoft.com/office/drawing/2014/main" id="{ED3E61CF-A88D-1044-8028-4F60CECC94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07877" y="1482290"/>
            <a:ext cx="3528548" cy="5223307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</p:spTree>
    <p:extLst>
      <p:ext uri="{BB962C8B-B14F-4D97-AF65-F5344CB8AC3E}">
        <p14:creationId xmlns:p14="http://schemas.microsoft.com/office/powerpoint/2010/main" val="39229168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-spaltig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324" y="300396"/>
            <a:ext cx="11341101" cy="537804"/>
          </a:xfrm>
        </p:spPr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3DFDE1CC-3EFE-B048-BEED-6A94F90861DE}"/>
              </a:ext>
            </a:extLst>
          </p:cNvPr>
          <p:cNvCxnSpPr>
            <a:cxnSpLocks/>
          </p:cNvCxnSpPr>
          <p:nvPr userDrawn="1"/>
        </p:nvCxnSpPr>
        <p:spPr>
          <a:xfrm>
            <a:off x="695324" y="1374626"/>
            <a:ext cx="2578588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6" name="Inhaltsplatzhalter 6">
            <a:extLst>
              <a:ext uri="{FF2B5EF4-FFF2-40B4-BE49-F238E27FC236}">
                <a16:creationId xmlns:a16="http://schemas.microsoft.com/office/drawing/2014/main" id="{EAC5495E-4C8C-0A47-A736-7D20FEE8A88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695324" y="1089025"/>
            <a:ext cx="2578589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A9A5BEF9-CACC-2E46-AADC-D36F37146591}"/>
              </a:ext>
            </a:extLst>
          </p:cNvPr>
          <p:cNvCxnSpPr>
            <a:cxnSpLocks/>
          </p:cNvCxnSpPr>
          <p:nvPr userDrawn="1"/>
        </p:nvCxnSpPr>
        <p:spPr>
          <a:xfrm>
            <a:off x="3616162" y="1374626"/>
            <a:ext cx="2578588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8" name="Inhaltsplatzhalter 6">
            <a:extLst>
              <a:ext uri="{FF2B5EF4-FFF2-40B4-BE49-F238E27FC236}">
                <a16:creationId xmlns:a16="http://schemas.microsoft.com/office/drawing/2014/main" id="{910623E2-65E8-F847-87C7-DF3BA928B80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3616161" y="1089025"/>
            <a:ext cx="2578589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A650862D-B533-B74D-828D-AA18D986D352}"/>
              </a:ext>
            </a:extLst>
          </p:cNvPr>
          <p:cNvCxnSpPr>
            <a:cxnSpLocks/>
          </p:cNvCxnSpPr>
          <p:nvPr userDrawn="1"/>
        </p:nvCxnSpPr>
        <p:spPr>
          <a:xfrm>
            <a:off x="6536999" y="1374626"/>
            <a:ext cx="2578588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31" name="Inhaltsplatzhalter 6">
            <a:extLst>
              <a:ext uri="{FF2B5EF4-FFF2-40B4-BE49-F238E27FC236}">
                <a16:creationId xmlns:a16="http://schemas.microsoft.com/office/drawing/2014/main" id="{696F9E4B-4C85-CF41-9E50-3913EB5CF229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 bwMode="gray">
          <a:xfrm>
            <a:off x="6536998" y="1089025"/>
            <a:ext cx="2578589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929AA3EF-18CF-BE4C-A6D9-96EDFCD1A876}"/>
              </a:ext>
            </a:extLst>
          </p:cNvPr>
          <p:cNvCxnSpPr>
            <a:cxnSpLocks/>
          </p:cNvCxnSpPr>
          <p:nvPr userDrawn="1"/>
        </p:nvCxnSpPr>
        <p:spPr>
          <a:xfrm>
            <a:off x="9457837" y="1374626"/>
            <a:ext cx="2578588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34" name="Inhaltsplatzhalter 6">
            <a:extLst>
              <a:ext uri="{FF2B5EF4-FFF2-40B4-BE49-F238E27FC236}">
                <a16:creationId xmlns:a16="http://schemas.microsoft.com/office/drawing/2014/main" id="{6DA902C5-6C86-A148-985D-EAB0CA94F2D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 bwMode="gray">
          <a:xfrm>
            <a:off x="9457836" y="1089025"/>
            <a:ext cx="2578589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sp>
        <p:nvSpPr>
          <p:cNvPr id="35" name="Textplatzhalter 26">
            <a:extLst>
              <a:ext uri="{FF2B5EF4-FFF2-40B4-BE49-F238E27FC236}">
                <a16:creationId xmlns:a16="http://schemas.microsoft.com/office/drawing/2014/main" id="{AF5E6C9E-21BF-164C-9D1F-5DDA5EAA397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5324" y="1482290"/>
            <a:ext cx="2578588" cy="5223307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36" name="Textplatzhalter 26">
            <a:extLst>
              <a:ext uri="{FF2B5EF4-FFF2-40B4-BE49-F238E27FC236}">
                <a16:creationId xmlns:a16="http://schemas.microsoft.com/office/drawing/2014/main" id="{C906FD70-F25E-0147-8D89-50AED42B4FF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16162" y="1482290"/>
            <a:ext cx="2578588" cy="5223307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37" name="Textplatzhalter 26">
            <a:extLst>
              <a:ext uri="{FF2B5EF4-FFF2-40B4-BE49-F238E27FC236}">
                <a16:creationId xmlns:a16="http://schemas.microsoft.com/office/drawing/2014/main" id="{3787E388-8A9B-534F-8396-1D057BB0F02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36999" y="1482290"/>
            <a:ext cx="2578588" cy="5223307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38" name="Textplatzhalter 26">
            <a:extLst>
              <a:ext uri="{FF2B5EF4-FFF2-40B4-BE49-F238E27FC236}">
                <a16:creationId xmlns:a16="http://schemas.microsoft.com/office/drawing/2014/main" id="{010A1055-FAE4-6247-9770-A2BC981C8C7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57837" y="1482290"/>
            <a:ext cx="2578588" cy="5223307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</p:spTree>
    <p:extLst>
      <p:ext uri="{BB962C8B-B14F-4D97-AF65-F5344CB8AC3E}">
        <p14:creationId xmlns:p14="http://schemas.microsoft.com/office/powerpoint/2010/main" val="1237099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324" y="300396"/>
            <a:ext cx="11341101" cy="537804"/>
          </a:xfrm>
        </p:spPr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3DFDE1CC-3EFE-B048-BEED-6A94F90861DE}"/>
              </a:ext>
            </a:extLst>
          </p:cNvPr>
          <p:cNvCxnSpPr>
            <a:cxnSpLocks/>
          </p:cNvCxnSpPr>
          <p:nvPr userDrawn="1"/>
        </p:nvCxnSpPr>
        <p:spPr>
          <a:xfrm>
            <a:off x="695324" y="1374626"/>
            <a:ext cx="5493039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D3F7ABBF-FC26-7448-BCEF-CB9D612BC011}"/>
              </a:ext>
            </a:extLst>
          </p:cNvPr>
          <p:cNvCxnSpPr>
            <a:cxnSpLocks/>
          </p:cNvCxnSpPr>
          <p:nvPr userDrawn="1"/>
        </p:nvCxnSpPr>
        <p:spPr>
          <a:xfrm>
            <a:off x="6543386" y="1374626"/>
            <a:ext cx="5493039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6" name="Inhaltsplatzhalter 6">
            <a:extLst>
              <a:ext uri="{FF2B5EF4-FFF2-40B4-BE49-F238E27FC236}">
                <a16:creationId xmlns:a16="http://schemas.microsoft.com/office/drawing/2014/main" id="{EAC5495E-4C8C-0A47-A736-7D20FEE8A88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695324" y="1089025"/>
            <a:ext cx="5493040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sp>
        <p:nvSpPr>
          <p:cNvPr id="18" name="Inhaltsplatzhalter 6">
            <a:extLst>
              <a:ext uri="{FF2B5EF4-FFF2-40B4-BE49-F238E27FC236}">
                <a16:creationId xmlns:a16="http://schemas.microsoft.com/office/drawing/2014/main" id="{6C4129D9-8007-B749-8470-1235915ACCF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 bwMode="gray">
          <a:xfrm>
            <a:off x="6543385" y="1089025"/>
            <a:ext cx="5493040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50B2D276-85CF-F446-B328-412F76582B36}"/>
              </a:ext>
            </a:extLst>
          </p:cNvPr>
          <p:cNvCxnSpPr>
            <a:cxnSpLocks/>
          </p:cNvCxnSpPr>
          <p:nvPr userDrawn="1"/>
        </p:nvCxnSpPr>
        <p:spPr>
          <a:xfrm>
            <a:off x="695324" y="4149087"/>
            <a:ext cx="549303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5" name="Inhaltsplatzhalter 6">
            <a:extLst>
              <a:ext uri="{FF2B5EF4-FFF2-40B4-BE49-F238E27FC236}">
                <a16:creationId xmlns:a16="http://schemas.microsoft.com/office/drawing/2014/main" id="{688346E9-6A2A-9E48-B61F-B39E45323F96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 bwMode="gray">
          <a:xfrm>
            <a:off x="695323" y="3863486"/>
            <a:ext cx="5493039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CBFB1C53-DB0A-9D44-B98C-441C1359DB3E}"/>
              </a:ext>
            </a:extLst>
          </p:cNvPr>
          <p:cNvCxnSpPr>
            <a:cxnSpLocks/>
          </p:cNvCxnSpPr>
          <p:nvPr userDrawn="1"/>
        </p:nvCxnSpPr>
        <p:spPr>
          <a:xfrm>
            <a:off x="6543388" y="4149087"/>
            <a:ext cx="549303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0" name="Inhaltsplatzhalter 6">
            <a:extLst>
              <a:ext uri="{FF2B5EF4-FFF2-40B4-BE49-F238E27FC236}">
                <a16:creationId xmlns:a16="http://schemas.microsoft.com/office/drawing/2014/main" id="{4D8E41E6-7A6B-0D4F-924F-1647ABE47AAE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 bwMode="gray">
          <a:xfrm>
            <a:off x="6543386" y="3863486"/>
            <a:ext cx="5493039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sp>
        <p:nvSpPr>
          <p:cNvPr id="21" name="Textplatzhalter 26">
            <a:extLst>
              <a:ext uri="{FF2B5EF4-FFF2-40B4-BE49-F238E27FC236}">
                <a16:creationId xmlns:a16="http://schemas.microsoft.com/office/drawing/2014/main" id="{846343D3-8D95-4442-93D0-A9924AA79B0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5324" y="1482291"/>
            <a:ext cx="5493036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22" name="Textplatzhalter 26">
            <a:extLst>
              <a:ext uri="{FF2B5EF4-FFF2-40B4-BE49-F238E27FC236}">
                <a16:creationId xmlns:a16="http://schemas.microsoft.com/office/drawing/2014/main" id="{FD5DB676-B3AD-F94A-A007-CD2B4B5ED4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43389" y="1482291"/>
            <a:ext cx="5493036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23" name="Textplatzhalter 26">
            <a:extLst>
              <a:ext uri="{FF2B5EF4-FFF2-40B4-BE49-F238E27FC236}">
                <a16:creationId xmlns:a16="http://schemas.microsoft.com/office/drawing/2014/main" id="{08798B83-7373-634C-8545-106BFA346C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95324" y="4256760"/>
            <a:ext cx="5493036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24" name="Textplatzhalter 26">
            <a:extLst>
              <a:ext uri="{FF2B5EF4-FFF2-40B4-BE49-F238E27FC236}">
                <a16:creationId xmlns:a16="http://schemas.microsoft.com/office/drawing/2014/main" id="{F774DE55-9BAC-4E44-9C02-78E90D1E8D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43389" y="4256760"/>
            <a:ext cx="5493036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</p:spTree>
    <p:extLst>
      <p:ext uri="{BB962C8B-B14F-4D97-AF65-F5344CB8AC3E}">
        <p14:creationId xmlns:p14="http://schemas.microsoft.com/office/powerpoint/2010/main" val="276846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nhalt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5324" y="300396"/>
            <a:ext cx="11341101" cy="537804"/>
          </a:xfrm>
        </p:spPr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AUDI AG   I/XX    Präsentationstitel   Datum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3DFDE1CC-3EFE-B048-BEED-6A94F90861DE}"/>
              </a:ext>
            </a:extLst>
          </p:cNvPr>
          <p:cNvCxnSpPr>
            <a:cxnSpLocks/>
          </p:cNvCxnSpPr>
          <p:nvPr userDrawn="1"/>
        </p:nvCxnSpPr>
        <p:spPr>
          <a:xfrm>
            <a:off x="695324" y="1374626"/>
            <a:ext cx="352854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6" name="Inhaltsplatzhalter 6">
            <a:extLst>
              <a:ext uri="{FF2B5EF4-FFF2-40B4-BE49-F238E27FC236}">
                <a16:creationId xmlns:a16="http://schemas.microsoft.com/office/drawing/2014/main" id="{EAC5495E-4C8C-0A47-A736-7D20FEE8A88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695324" y="1089025"/>
            <a:ext cx="3528548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6C4D752E-3739-B14F-9294-BF870D8C8200}"/>
              </a:ext>
            </a:extLst>
          </p:cNvPr>
          <p:cNvCxnSpPr>
            <a:cxnSpLocks/>
          </p:cNvCxnSpPr>
          <p:nvPr userDrawn="1"/>
        </p:nvCxnSpPr>
        <p:spPr>
          <a:xfrm>
            <a:off x="4601601" y="1374626"/>
            <a:ext cx="352854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31" name="Inhaltsplatzhalter 6">
            <a:extLst>
              <a:ext uri="{FF2B5EF4-FFF2-40B4-BE49-F238E27FC236}">
                <a16:creationId xmlns:a16="http://schemas.microsoft.com/office/drawing/2014/main" id="{04A2E556-2514-AB47-8ECA-84036C67A3AE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4601600" y="1089025"/>
            <a:ext cx="3528548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329199C6-9301-B84E-84CC-4FC764296CCE}"/>
              </a:ext>
            </a:extLst>
          </p:cNvPr>
          <p:cNvCxnSpPr>
            <a:cxnSpLocks/>
          </p:cNvCxnSpPr>
          <p:nvPr userDrawn="1"/>
        </p:nvCxnSpPr>
        <p:spPr>
          <a:xfrm>
            <a:off x="8507878" y="1374626"/>
            <a:ext cx="352854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34" name="Inhaltsplatzhalter 6">
            <a:extLst>
              <a:ext uri="{FF2B5EF4-FFF2-40B4-BE49-F238E27FC236}">
                <a16:creationId xmlns:a16="http://schemas.microsoft.com/office/drawing/2014/main" id="{A719C8A6-AD1C-B844-A69E-AC402EA0AED5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 bwMode="gray">
          <a:xfrm>
            <a:off x="8507877" y="1089025"/>
            <a:ext cx="3528548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3B707594-1D99-1947-A28E-113C3D7DA799}"/>
              </a:ext>
            </a:extLst>
          </p:cNvPr>
          <p:cNvCxnSpPr>
            <a:cxnSpLocks/>
          </p:cNvCxnSpPr>
          <p:nvPr userDrawn="1"/>
        </p:nvCxnSpPr>
        <p:spPr>
          <a:xfrm>
            <a:off x="695324" y="4149087"/>
            <a:ext cx="352854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5" name="Inhaltsplatzhalter 6">
            <a:extLst>
              <a:ext uri="{FF2B5EF4-FFF2-40B4-BE49-F238E27FC236}">
                <a16:creationId xmlns:a16="http://schemas.microsoft.com/office/drawing/2014/main" id="{5F6AC994-6BFB-6947-8D53-B2F25A89B9D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 bwMode="gray">
          <a:xfrm>
            <a:off x="695324" y="3863486"/>
            <a:ext cx="3528548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6BA33452-9EE1-064A-988A-7376BAE04548}"/>
              </a:ext>
            </a:extLst>
          </p:cNvPr>
          <p:cNvCxnSpPr>
            <a:cxnSpLocks/>
          </p:cNvCxnSpPr>
          <p:nvPr userDrawn="1"/>
        </p:nvCxnSpPr>
        <p:spPr>
          <a:xfrm>
            <a:off x="4601601" y="4149087"/>
            <a:ext cx="352854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8" name="Inhaltsplatzhalter 6">
            <a:extLst>
              <a:ext uri="{FF2B5EF4-FFF2-40B4-BE49-F238E27FC236}">
                <a16:creationId xmlns:a16="http://schemas.microsoft.com/office/drawing/2014/main" id="{B7B0079A-E83A-514D-96F1-B3BDCC6915FB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 bwMode="gray">
          <a:xfrm>
            <a:off x="4601600" y="3863486"/>
            <a:ext cx="3528548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90C4C3A9-01CB-3640-9F34-B78896425417}"/>
              </a:ext>
            </a:extLst>
          </p:cNvPr>
          <p:cNvCxnSpPr>
            <a:cxnSpLocks/>
          </p:cNvCxnSpPr>
          <p:nvPr userDrawn="1"/>
        </p:nvCxnSpPr>
        <p:spPr>
          <a:xfrm>
            <a:off x="8507878" y="4149087"/>
            <a:ext cx="3528547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37" name="Inhaltsplatzhalter 6">
            <a:extLst>
              <a:ext uri="{FF2B5EF4-FFF2-40B4-BE49-F238E27FC236}">
                <a16:creationId xmlns:a16="http://schemas.microsoft.com/office/drawing/2014/main" id="{D4B50C57-C933-9246-B16B-02671DFB1CC6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 bwMode="gray">
          <a:xfrm>
            <a:off x="8507877" y="3863486"/>
            <a:ext cx="3528548" cy="285597"/>
          </a:xfrm>
        </p:spPr>
        <p:txBody>
          <a:bodyPr/>
          <a:lstStyle>
            <a:lvl1pPr>
              <a:defRPr b="1" i="0">
                <a:latin typeface="Audi Type" panose="020B0503040200000003" pitchFamily="34" charset="0"/>
                <a:cs typeface="Audi Type" panose="020B0503040200000003" pitchFamily="34" charset="0"/>
              </a:defRPr>
            </a:lvl1pPr>
            <a:lvl2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2pPr>
            <a:lvl3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3pPr>
            <a:lvl4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4pPr>
            <a:lvl5pPr>
              <a:buSzPct val="125000"/>
              <a:defRPr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5pPr>
          </a:lstStyle>
          <a:p>
            <a:pPr lvl="0"/>
            <a:r>
              <a:rPr lang="de-DE" noProof="0"/>
              <a:t>Überschrift hinzufügen</a:t>
            </a:r>
          </a:p>
        </p:txBody>
      </p:sp>
      <p:sp>
        <p:nvSpPr>
          <p:cNvPr id="38" name="Textplatzhalter 26">
            <a:extLst>
              <a:ext uri="{FF2B5EF4-FFF2-40B4-BE49-F238E27FC236}">
                <a16:creationId xmlns:a16="http://schemas.microsoft.com/office/drawing/2014/main" id="{295AC084-821D-D346-B3FF-F65530B1C8D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95324" y="1482291"/>
            <a:ext cx="3528547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39" name="Textplatzhalter 26">
            <a:extLst>
              <a:ext uri="{FF2B5EF4-FFF2-40B4-BE49-F238E27FC236}">
                <a16:creationId xmlns:a16="http://schemas.microsoft.com/office/drawing/2014/main" id="{E79DD81E-2F6D-2F45-B972-B366412A5E6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01601" y="1482291"/>
            <a:ext cx="3528547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40" name="Textplatzhalter 26">
            <a:extLst>
              <a:ext uri="{FF2B5EF4-FFF2-40B4-BE49-F238E27FC236}">
                <a16:creationId xmlns:a16="http://schemas.microsoft.com/office/drawing/2014/main" id="{4C9D415B-D2EB-1A4F-88A8-4C4FD28F1A5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07878" y="1482291"/>
            <a:ext cx="3528547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41" name="Textplatzhalter 26">
            <a:extLst>
              <a:ext uri="{FF2B5EF4-FFF2-40B4-BE49-F238E27FC236}">
                <a16:creationId xmlns:a16="http://schemas.microsoft.com/office/drawing/2014/main" id="{1FDC3AAF-7757-A243-926C-526221F6409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5324" y="4256760"/>
            <a:ext cx="3528547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42" name="Textplatzhalter 26">
            <a:extLst>
              <a:ext uri="{FF2B5EF4-FFF2-40B4-BE49-F238E27FC236}">
                <a16:creationId xmlns:a16="http://schemas.microsoft.com/office/drawing/2014/main" id="{D7E7143C-0E31-754C-BDBE-EFF5365216E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601601" y="4256760"/>
            <a:ext cx="3528547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43" name="Textplatzhalter 26">
            <a:extLst>
              <a:ext uri="{FF2B5EF4-FFF2-40B4-BE49-F238E27FC236}">
                <a16:creationId xmlns:a16="http://schemas.microsoft.com/office/drawing/2014/main" id="{90EDD0B3-D332-AD47-BB5F-2285A731B8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507878" y="4256760"/>
            <a:ext cx="3528547" cy="2136224"/>
          </a:xfrm>
        </p:spPr>
        <p:txBody>
          <a:bodyPr/>
          <a:lstStyle>
            <a:lvl1pPr marL="177800" indent="-177800"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tabLst/>
              <a:defRPr sz="1200" b="0" i="0">
                <a:latin typeface="Audi Type Normal" panose="020B0503040200000003" pitchFamily="34" charset="0"/>
                <a:cs typeface="Audi Type Normal" panose="020B0503040200000003" pitchFamily="34" charset="0"/>
              </a:defRPr>
            </a:lvl1pPr>
          </a:lstStyle>
          <a:p>
            <a:pPr lvl="0"/>
            <a:r>
              <a:rPr lang="de-DE"/>
              <a:t>Text einfügen</a:t>
            </a:r>
          </a:p>
        </p:txBody>
      </p:sp>
    </p:spTree>
    <p:extLst>
      <p:ext uri="{BB962C8B-B14F-4D97-AF65-F5344CB8AC3E}">
        <p14:creationId xmlns:p14="http://schemas.microsoft.com/office/powerpoint/2010/main" val="35940802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4BB0873-A216-40B4-B5E8-5409E303E9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928863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789" imgH="788" progId="TCLayout.ActiveDocument.1">
                  <p:embed/>
                </p:oleObj>
              </mc:Choice>
              <mc:Fallback>
                <p:oleObj name="think-cell Folie" r:id="rId37" imgW="789" imgH="78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4BB0873-A216-40B4-B5E8-5409E303E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4" y="300396"/>
            <a:ext cx="11341101" cy="5378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Action-Title (Kernbotschaft der Folie, 1- oder 2-zeilig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2" y="1089024"/>
            <a:ext cx="11341101" cy="5616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97280" y="70998"/>
            <a:ext cx="10939145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charset="0"/>
              </a:defRPr>
            </a:lvl1pPr>
          </a:lstStyle>
          <a:p>
            <a:r>
              <a:rPr lang="en-US"/>
              <a:t>AUDI AG  Business Review 16.05.2023</a:t>
            </a:r>
            <a:endParaRPr lang="de-DE" noProof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695324" y="70998"/>
            <a:ext cx="419869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de-DE" sz="700" noProof="0" smtClean="0">
                <a:latin typeface="+mj-lt"/>
              </a:rPr>
              <a:pPr/>
              <a:t>‹Nr.›</a:t>
            </a:fld>
            <a:endParaRPr lang="de-DE" sz="800" noProof="0">
              <a:latin typeface="+mj-lt"/>
            </a:endParaRPr>
          </a:p>
        </p:txBody>
      </p:sp>
      <p:sp>
        <p:nvSpPr>
          <p:cNvPr id="5" name="MSIPCMContentMarking" descr="{&quot;HashCode&quot;:1622173095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9D30F791-8D3C-4B1A-B8F9-26921EDD7926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80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udi Type Normal" panose="020B0503040200000003" pitchFamily="34" charset="0"/>
              </a:rPr>
              <a:t>INTERNAL</a:t>
            </a:r>
            <a:endParaRPr kumimoji="0" lang="de-DE" sz="80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udi Type Normal" panose="020B05030402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69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11" r:id="rId2"/>
    <p:sldLayoutId id="2147483710" r:id="rId3"/>
    <p:sldLayoutId id="2147483712" r:id="rId4"/>
    <p:sldLayoutId id="2147483759" r:id="rId5"/>
    <p:sldLayoutId id="2147483760" r:id="rId6"/>
    <p:sldLayoutId id="2147483761" r:id="rId7"/>
    <p:sldLayoutId id="2147483763" r:id="rId8"/>
    <p:sldLayoutId id="2147483762" r:id="rId9"/>
    <p:sldLayoutId id="2147483734" r:id="rId10"/>
    <p:sldLayoutId id="2147483713" r:id="rId11"/>
    <p:sldLayoutId id="2147483764" r:id="rId12"/>
    <p:sldLayoutId id="2147483766" r:id="rId13"/>
    <p:sldLayoutId id="2147483767" r:id="rId14"/>
    <p:sldLayoutId id="2147483768" r:id="rId15"/>
    <p:sldLayoutId id="2147483671" r:id="rId16"/>
    <p:sldLayoutId id="2147483746" r:id="rId17"/>
    <p:sldLayoutId id="2147483733" r:id="rId18"/>
    <p:sldLayoutId id="2147483755" r:id="rId19"/>
    <p:sldLayoutId id="2147483729" r:id="rId20"/>
    <p:sldLayoutId id="2147483771" r:id="rId21"/>
    <p:sldLayoutId id="2147483757" r:id="rId22"/>
    <p:sldLayoutId id="2147483752" r:id="rId23"/>
    <p:sldLayoutId id="2147483719" r:id="rId24"/>
    <p:sldLayoutId id="2147483706" r:id="rId25"/>
    <p:sldLayoutId id="2147483725" r:id="rId26"/>
    <p:sldLayoutId id="2147483769" r:id="rId27"/>
    <p:sldLayoutId id="2147483751" r:id="rId28"/>
    <p:sldLayoutId id="2147483753" r:id="rId29"/>
    <p:sldLayoutId id="2147483737" r:id="rId30"/>
    <p:sldLayoutId id="2147483754" r:id="rId31"/>
    <p:sldLayoutId id="2147483728" r:id="rId32"/>
    <p:sldLayoutId id="2147483770" r:id="rId33"/>
    <p:sldLayoutId id="2147483772" r:id="rId34"/>
  </p:sldLayoutIdLst>
  <p:hf sldNum="0" hdr="0" dt="0"/>
  <p:txStyles>
    <p:titleStyle>
      <a:lvl1pPr marL="0" marR="0" indent="0" algn="l" defTabSz="914400" rtl="0" eaLnBrk="1" fontAlgn="auto" latinLnBrk="0" hangingPunct="1">
        <a:lnSpc>
          <a:spcPct val="11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1800" b="0" i="0" kern="1200" baseline="0">
          <a:solidFill>
            <a:schemeClr val="tx1"/>
          </a:solidFill>
          <a:latin typeface="Audi Type Extended Normal" charset="0"/>
          <a:ea typeface="Audi Type Extended Normal" charset="0"/>
          <a:cs typeface="Audi Type Extended Normal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Audi Type Normal" panose="020B0503040200000003" pitchFamily="34" charset="0"/>
          <a:ea typeface="+mn-ea"/>
          <a:cs typeface="Audi Type Normal" panose="020B0503040200000003" pitchFamily="34" charset="0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accent6"/>
        </a:buClr>
        <a:buSzPct val="150000"/>
        <a:buFont typeface="Audi Type Normal" panose="000B0503040202020203" pitchFamily="34" charset="0"/>
        <a:buChar char="›"/>
        <a:defRPr sz="1600" b="0" i="0" kern="1200">
          <a:solidFill>
            <a:schemeClr val="tx1"/>
          </a:solidFill>
          <a:latin typeface="Audi Type Normal" panose="020B0503040200000003" pitchFamily="34" charset="0"/>
          <a:ea typeface="+mn-ea"/>
          <a:cs typeface="Audi Type Normal" panose="020B0503040200000003" pitchFamily="34" charset="0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accent5"/>
        </a:buClr>
        <a:buSzPct val="150000"/>
        <a:buFont typeface="Audi Type Normal" panose="000B0503040202020203" pitchFamily="34" charset="0"/>
        <a:buChar char="›"/>
        <a:defRPr sz="1600" b="0" i="0" kern="1200">
          <a:solidFill>
            <a:schemeClr val="tx1"/>
          </a:solidFill>
          <a:latin typeface="Audi Type Normal" panose="020B0503040200000003" pitchFamily="34" charset="0"/>
          <a:ea typeface="+mn-ea"/>
          <a:cs typeface="Audi Type Normal" panose="020B0503040200000003" pitchFamily="34" charset="0"/>
        </a:defRPr>
      </a:lvl3pPr>
      <a:lvl4pPr marL="648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 Normal" panose="000B0503040202020203" pitchFamily="34" charset="0"/>
        <a:buChar char="›"/>
        <a:defRPr sz="1600" b="0" i="0" kern="1200">
          <a:solidFill>
            <a:schemeClr val="tx1"/>
          </a:solidFill>
          <a:latin typeface="Audi Type Normal" panose="020B0503040200000003" pitchFamily="34" charset="0"/>
          <a:ea typeface="+mn-ea"/>
          <a:cs typeface="Audi Type Normal" panose="020B0503040200000003" pitchFamily="34" charset="0"/>
        </a:defRPr>
      </a:lvl4pPr>
      <a:lvl5pPr marL="864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SzPct val="150000"/>
        <a:buFont typeface="Audi Type Normal" panose="000B0503040202020203" pitchFamily="34" charset="0"/>
        <a:buChar char="–"/>
        <a:defRPr sz="1600" b="0" i="0" kern="1200">
          <a:solidFill>
            <a:schemeClr val="tx1"/>
          </a:solidFill>
          <a:latin typeface="Audi Type Normal" panose="020B0503040200000003" pitchFamily="34" charset="0"/>
          <a:ea typeface="+mn-ea"/>
          <a:cs typeface="Audi Type Normal" panose="020B05030402000000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5" orient="horz" pos="4224" userDrawn="1">
          <p15:clr>
            <a:srgbClr val="F26B43"/>
          </p15:clr>
        </p15:guide>
        <p15:guide id="11" pos="3953" userDrawn="1">
          <p15:clr>
            <a:srgbClr val="F26B43"/>
          </p15:clr>
        </p15:guide>
        <p15:guide id="12" pos="438" userDrawn="1">
          <p15:clr>
            <a:srgbClr val="F26B43"/>
          </p15:clr>
        </p15:guide>
        <p15:guide id="13" pos="7582" userDrawn="1">
          <p15:clr>
            <a:srgbClr val="F26B43"/>
          </p15:clr>
        </p15:guide>
        <p15:guide id="14" pos="3727" userDrawn="1">
          <p15:clr>
            <a:srgbClr val="F26B43"/>
          </p15:clr>
        </p15:guide>
        <p15:guide id="17" orient="horz" pos="6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27828CD-22EA-4581-AC49-386279CFB5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27828CD-22EA-4581-AC49-386279CFB5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CA1B7E31-B09A-AE2E-B0F7-739DB6F5D1A8}"/>
              </a:ext>
            </a:extLst>
          </p:cNvPr>
          <p:cNvSpPr/>
          <p:nvPr/>
        </p:nvSpPr>
        <p:spPr>
          <a:xfrm>
            <a:off x="0" y="3657601"/>
            <a:ext cx="12192000" cy="32004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2161"/>
                </a:schemeClr>
              </a:gs>
            </a:gsLst>
            <a:lin ang="5400000" scaled="1"/>
          </a:gra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19E0B9E4-467F-C04A-B492-43291AF96F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43954" y="4871335"/>
            <a:ext cx="7015049" cy="251767"/>
          </a:xfrm>
        </p:spPr>
        <p:txBody>
          <a:bodyPr/>
          <a:lstStyle/>
          <a:p>
            <a:r>
              <a:rPr lang="de-DE" sz="1200" dirty="0" err="1">
                <a:solidFill>
                  <a:schemeClr val="bg1"/>
                </a:solidFill>
              </a:rPr>
              <a:t>October</a:t>
            </a:r>
            <a:r>
              <a:rPr lang="de-DE" sz="1200" dirty="0">
                <a:solidFill>
                  <a:schemeClr val="bg1"/>
                </a:solidFill>
              </a:rPr>
              <a:t> 2025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E3F3A74-CFED-DD40-A95A-A671024BC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1700" y="5294816"/>
            <a:ext cx="7605041" cy="492443"/>
          </a:xfrm>
        </p:spPr>
        <p:txBody>
          <a:bodyPr vert="horz" wrap="square">
            <a:spAutoFit/>
          </a:bodyPr>
          <a:lstStyle/>
          <a:p>
            <a:r>
              <a:rPr lang="de-DE" sz="3200" b="0" dirty="0">
                <a:solidFill>
                  <a:schemeClr val="bg1"/>
                </a:solidFill>
              </a:rPr>
              <a:t>EDA Project – </a:t>
            </a:r>
            <a:r>
              <a:rPr lang="de-DE" sz="3200" b="0" dirty="0" err="1">
                <a:solidFill>
                  <a:schemeClr val="bg1"/>
                </a:solidFill>
              </a:rPr>
              <a:t>insights</a:t>
            </a:r>
            <a:r>
              <a:rPr lang="de-DE" sz="3200" b="0" dirty="0">
                <a:solidFill>
                  <a:schemeClr val="bg1"/>
                </a:solidFill>
              </a:rPr>
              <a:t> </a:t>
            </a:r>
            <a:r>
              <a:rPr lang="de-DE" sz="3200" b="0" dirty="0" err="1">
                <a:solidFill>
                  <a:schemeClr val="bg1"/>
                </a:solidFill>
              </a:rPr>
              <a:t>for</a:t>
            </a:r>
            <a:r>
              <a:rPr lang="de-DE" sz="3200" b="0" dirty="0">
                <a:solidFill>
                  <a:schemeClr val="bg1"/>
                </a:solidFill>
              </a:rPr>
              <a:t> Erin Robins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92BA44B-F01F-8F47-DE06-BD8EF85717D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6191"/>
          <a:stretch/>
        </p:blipFill>
        <p:spPr>
          <a:xfrm>
            <a:off x="0" y="0"/>
            <a:ext cx="12192000" cy="6096000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5EAC7535-6AF8-A0BD-7E06-3EA06A35D3B8}"/>
              </a:ext>
            </a:extLst>
          </p:cNvPr>
          <p:cNvSpPr/>
          <p:nvPr/>
        </p:nvSpPr>
        <p:spPr>
          <a:xfrm>
            <a:off x="6951478" y="3088640"/>
            <a:ext cx="5159242" cy="113792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r>
              <a:rPr lang="de-DE" sz="2500" dirty="0">
                <a:latin typeface="Audi Type Extended Normal" charset="0"/>
              </a:rPr>
              <a:t>EDA Project – King County real </a:t>
            </a:r>
            <a:r>
              <a:rPr lang="de-DE" sz="2500" dirty="0" err="1">
                <a:latin typeface="Audi Type Extended Normal" charset="0"/>
              </a:rPr>
              <a:t>estate</a:t>
            </a:r>
            <a:endParaRPr lang="de-DE" sz="2500" dirty="0">
              <a:latin typeface="Audi Type Extended Normal" charset="0"/>
            </a:endParaRPr>
          </a:p>
          <a:p>
            <a:pPr algn="ctr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r>
              <a:rPr lang="de-DE" dirty="0">
                <a:latin typeface="Audi Type Extended Normal" charset="0"/>
              </a:rPr>
              <a:t>Andreas Greif</a:t>
            </a:r>
          </a:p>
        </p:txBody>
      </p:sp>
    </p:spTree>
    <p:extLst>
      <p:ext uri="{BB962C8B-B14F-4D97-AF65-F5344CB8AC3E}">
        <p14:creationId xmlns:p14="http://schemas.microsoft.com/office/powerpoint/2010/main" val="100443488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FA077-EA5C-84BE-8A47-1A48FE9F9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249596"/>
            <a:ext cx="11341101" cy="360004"/>
          </a:xfrm>
        </p:spPr>
        <p:txBody>
          <a:bodyPr/>
          <a:lstStyle/>
          <a:p>
            <a:r>
              <a:rPr lang="de-DE" dirty="0" err="1"/>
              <a:t>Conclusions</a:t>
            </a:r>
            <a:r>
              <a:rPr lang="de-DE" dirty="0"/>
              <a:t> and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advice</a:t>
            </a:r>
            <a:r>
              <a:rPr lang="de-DE" dirty="0"/>
              <a:t> 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DAD4C7C4-6B53-9540-57BD-BE5DA868522A}"/>
              </a:ext>
            </a:extLst>
          </p:cNvPr>
          <p:cNvSpPr txBox="1">
            <a:spLocks/>
          </p:cNvSpPr>
          <p:nvPr/>
        </p:nvSpPr>
        <p:spPr>
          <a:xfrm>
            <a:off x="695324" y="1243884"/>
            <a:ext cx="7261560" cy="56165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50000"/>
              <a:buFont typeface="Audi Type Normal" panose="000B0503040202020203" pitchFamily="34" charset="0"/>
              <a:buChar char="–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 dirty="0">
                <a:latin typeface="+mn-lt"/>
              </a:rPr>
              <a:t>Conclusions and answers to her questions</a:t>
            </a:r>
          </a:p>
          <a:p>
            <a:pPr lvl="1"/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„Poor“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neighborhods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ar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in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zipcodes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98002, 98168, 98032, 98001, 98188</a:t>
            </a:r>
          </a:p>
          <a:p>
            <a:pPr lvl="1"/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98001 and 98168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hav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h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best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growth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in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mean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pric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, 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98168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being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less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volatile</a:t>
            </a:r>
            <a:endParaRPr lang="en-US" b="1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When to </a:t>
            </a:r>
            <a:r>
              <a:rPr lang="en-US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do transactions : Do </a:t>
            </a:r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your </a:t>
            </a:r>
            <a:r>
              <a:rPr lang="en-US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buying in Q1 </a:t>
            </a:r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and your </a:t>
            </a:r>
            <a:r>
              <a:rPr lang="en-US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selling in Q2. </a:t>
            </a:r>
            <a:endParaRPr lang="de-DE" b="1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lvl="1"/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o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get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h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best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and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cheapest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market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, </a:t>
            </a:r>
            <a:r>
              <a:rPr lang="de-DE" b="1" u="sng" dirty="0" err="1">
                <a:solidFill>
                  <a:srgbClr val="161718"/>
                </a:solidFill>
                <a:latin typeface="+mn-lt"/>
              </a:rPr>
              <a:t>look</a:t>
            </a:r>
            <a:r>
              <a:rPr lang="de-DE" b="1" u="sng" dirty="0">
                <a:solidFill>
                  <a:srgbClr val="161718"/>
                </a:solidFill>
                <a:latin typeface="+mn-lt"/>
              </a:rPr>
              <a:t> at 98001</a:t>
            </a:r>
            <a:r>
              <a:rPr lang="de-DE" u="sng" dirty="0">
                <a:solidFill>
                  <a:srgbClr val="161718"/>
                </a:solidFill>
                <a:latin typeface="+mn-lt"/>
              </a:rPr>
              <a:t> </a:t>
            </a:r>
            <a:r>
              <a:rPr lang="de-DE" b="1" u="sng" dirty="0" err="1">
                <a:solidFill>
                  <a:srgbClr val="161718"/>
                </a:solidFill>
                <a:latin typeface="+mn-lt"/>
              </a:rPr>
              <a:t>first</a:t>
            </a:r>
            <a:r>
              <a:rPr lang="de-DE" u="sng" dirty="0">
                <a:solidFill>
                  <a:srgbClr val="161718"/>
                </a:solidFill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becaus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of</a:t>
            </a:r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lvl="2"/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Furthest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off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from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Seattle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airport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(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nois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)</a:t>
            </a:r>
          </a:p>
          <a:p>
            <a:pPr lvl="2"/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Best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growth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rate, and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cheaper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han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98168 in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erms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of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pric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/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sqft</a:t>
            </a:r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lvl="1"/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marL="0" lvl="1" indent="0">
              <a:buNone/>
            </a:pP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Furher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insights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about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what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o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look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for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(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correlations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from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scatterplots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)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Clear correlation of price to </a:t>
            </a:r>
            <a:r>
              <a:rPr lang="en-US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sqft</a:t>
            </a:r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, so look for bigger houses at same price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Correlation of lot size to price, quite some outliers (maybe interesting!)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No clear correlation of price to year renovated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Very few houses that are older and very cheap – seems that older houses do not loose much value just because of their age, are </a:t>
            </a:r>
            <a:r>
              <a:rPr lang="en-US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herfore</a:t>
            </a:r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quite stable in price. 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High Grades from 7 on correlate to price. Look for values 7 and up. 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High condition values correlate to price, so look for 4 and 5. </a:t>
            </a:r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lvl="1"/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F514E91-64DB-01E2-B8DF-C35763D3A6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1900" y="0"/>
            <a:ext cx="1745799" cy="6858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80BEDF3-A0FE-4025-3FBA-4DCC26045D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66382" y="1"/>
            <a:ext cx="2041745" cy="3946358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5B53817-3B0C-9422-0D14-E940D02BB8A6}"/>
              </a:ext>
            </a:extLst>
          </p:cNvPr>
          <p:cNvCxnSpPr>
            <a:cxnSpLocks/>
          </p:cNvCxnSpPr>
          <p:nvPr/>
        </p:nvCxnSpPr>
        <p:spPr>
          <a:xfrm flipH="1">
            <a:off x="8892540" y="167148"/>
            <a:ext cx="1146810" cy="1253982"/>
          </a:xfrm>
          <a:prstGeom prst="line">
            <a:avLst/>
          </a:prstGeom>
          <a:noFill/>
          <a:ln w="15875" cap="flat" cmpd="sng" algn="ctr">
            <a:solidFill>
              <a:schemeClr val="accent6"/>
            </a:solidFill>
            <a:prstDash val="solid"/>
          </a:ln>
          <a:effectLst/>
        </p:spPr>
      </p:cxn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3083C8FC-863D-9669-DDC5-EC5C4D5D5FB4}"/>
              </a:ext>
            </a:extLst>
          </p:cNvPr>
          <p:cNvSpPr/>
          <p:nvPr/>
        </p:nvSpPr>
        <p:spPr>
          <a:xfrm>
            <a:off x="8962555" y="5928360"/>
            <a:ext cx="464487" cy="556260"/>
          </a:xfrm>
          <a:custGeom>
            <a:avLst/>
            <a:gdLst>
              <a:gd name="connsiteX0" fmla="*/ 441960 w 464487"/>
              <a:gd name="connsiteY0" fmla="*/ 518160 h 521970"/>
              <a:gd name="connsiteX1" fmla="*/ 426720 w 464487"/>
              <a:gd name="connsiteY1" fmla="*/ 476250 h 521970"/>
              <a:gd name="connsiteX2" fmla="*/ 430530 w 464487"/>
              <a:gd name="connsiteY2" fmla="*/ 129540 h 521970"/>
              <a:gd name="connsiteX3" fmla="*/ 441960 w 464487"/>
              <a:gd name="connsiteY3" fmla="*/ 87630 h 521970"/>
              <a:gd name="connsiteX4" fmla="*/ 445770 w 464487"/>
              <a:gd name="connsiteY4" fmla="*/ 64770 h 521970"/>
              <a:gd name="connsiteX5" fmla="*/ 441960 w 464487"/>
              <a:gd name="connsiteY5" fmla="*/ 26670 h 521970"/>
              <a:gd name="connsiteX6" fmla="*/ 430530 w 464487"/>
              <a:gd name="connsiteY6" fmla="*/ 19050 h 521970"/>
              <a:gd name="connsiteX7" fmla="*/ 407670 w 464487"/>
              <a:gd name="connsiteY7" fmla="*/ 11430 h 521970"/>
              <a:gd name="connsiteX8" fmla="*/ 392430 w 464487"/>
              <a:gd name="connsiteY8" fmla="*/ 3810 h 521970"/>
              <a:gd name="connsiteX9" fmla="*/ 361950 w 464487"/>
              <a:gd name="connsiteY9" fmla="*/ 0 h 521970"/>
              <a:gd name="connsiteX10" fmla="*/ 186690 w 464487"/>
              <a:gd name="connsiteY10" fmla="*/ 3810 h 521970"/>
              <a:gd name="connsiteX11" fmla="*/ 144780 w 464487"/>
              <a:gd name="connsiteY11" fmla="*/ 11430 h 521970"/>
              <a:gd name="connsiteX12" fmla="*/ 22860 w 464487"/>
              <a:gd name="connsiteY12" fmla="*/ 15240 h 521970"/>
              <a:gd name="connsiteX13" fmla="*/ 19050 w 464487"/>
              <a:gd name="connsiteY13" fmla="*/ 30480 h 521970"/>
              <a:gd name="connsiteX14" fmla="*/ 11430 w 464487"/>
              <a:gd name="connsiteY14" fmla="*/ 129540 h 521970"/>
              <a:gd name="connsiteX15" fmla="*/ 0 w 464487"/>
              <a:gd name="connsiteY15" fmla="*/ 152400 h 521970"/>
              <a:gd name="connsiteX16" fmla="*/ 7620 w 464487"/>
              <a:gd name="connsiteY16" fmla="*/ 255270 h 521970"/>
              <a:gd name="connsiteX17" fmla="*/ 26670 w 464487"/>
              <a:gd name="connsiteY17" fmla="*/ 278130 h 521970"/>
              <a:gd name="connsiteX18" fmla="*/ 34290 w 464487"/>
              <a:gd name="connsiteY18" fmla="*/ 304800 h 521970"/>
              <a:gd name="connsiteX19" fmla="*/ 30480 w 464487"/>
              <a:gd name="connsiteY19" fmla="*/ 449580 h 521970"/>
              <a:gd name="connsiteX20" fmla="*/ 22860 w 464487"/>
              <a:gd name="connsiteY20" fmla="*/ 464820 h 521970"/>
              <a:gd name="connsiteX21" fmla="*/ 19050 w 464487"/>
              <a:gd name="connsiteY21" fmla="*/ 480060 h 521970"/>
              <a:gd name="connsiteX22" fmla="*/ 26670 w 464487"/>
              <a:gd name="connsiteY22" fmla="*/ 506730 h 521970"/>
              <a:gd name="connsiteX23" fmla="*/ 45720 w 464487"/>
              <a:gd name="connsiteY23" fmla="*/ 514350 h 521970"/>
              <a:gd name="connsiteX24" fmla="*/ 76200 w 464487"/>
              <a:gd name="connsiteY24" fmla="*/ 521970 h 521970"/>
              <a:gd name="connsiteX25" fmla="*/ 441960 w 464487"/>
              <a:gd name="connsiteY25" fmla="*/ 518160 h 521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64487" h="521970">
                <a:moveTo>
                  <a:pt x="441960" y="518160"/>
                </a:moveTo>
                <a:cubicBezTo>
                  <a:pt x="500380" y="510540"/>
                  <a:pt x="426720" y="498036"/>
                  <a:pt x="426720" y="476250"/>
                </a:cubicBezTo>
                <a:cubicBezTo>
                  <a:pt x="426720" y="360673"/>
                  <a:pt x="426001" y="245028"/>
                  <a:pt x="430530" y="129540"/>
                </a:cubicBezTo>
                <a:cubicBezTo>
                  <a:pt x="431097" y="115071"/>
                  <a:pt x="438643" y="101725"/>
                  <a:pt x="441960" y="87630"/>
                </a:cubicBezTo>
                <a:cubicBezTo>
                  <a:pt x="443729" y="80110"/>
                  <a:pt x="444500" y="72390"/>
                  <a:pt x="445770" y="64770"/>
                </a:cubicBezTo>
                <a:cubicBezTo>
                  <a:pt x="444500" y="52070"/>
                  <a:pt x="445996" y="38778"/>
                  <a:pt x="441960" y="26670"/>
                </a:cubicBezTo>
                <a:cubicBezTo>
                  <a:pt x="440512" y="22326"/>
                  <a:pt x="434714" y="20910"/>
                  <a:pt x="430530" y="19050"/>
                </a:cubicBezTo>
                <a:cubicBezTo>
                  <a:pt x="423190" y="15788"/>
                  <a:pt x="414854" y="15022"/>
                  <a:pt x="407670" y="11430"/>
                </a:cubicBezTo>
                <a:cubicBezTo>
                  <a:pt x="402590" y="8890"/>
                  <a:pt x="397940" y="5188"/>
                  <a:pt x="392430" y="3810"/>
                </a:cubicBezTo>
                <a:cubicBezTo>
                  <a:pt x="382497" y="1327"/>
                  <a:pt x="372110" y="1270"/>
                  <a:pt x="361950" y="0"/>
                </a:cubicBezTo>
                <a:lnTo>
                  <a:pt x="186690" y="3810"/>
                </a:lnTo>
                <a:cubicBezTo>
                  <a:pt x="100632" y="7120"/>
                  <a:pt x="219027" y="7417"/>
                  <a:pt x="144780" y="11430"/>
                </a:cubicBezTo>
                <a:cubicBezTo>
                  <a:pt x="104179" y="13625"/>
                  <a:pt x="63500" y="13970"/>
                  <a:pt x="22860" y="15240"/>
                </a:cubicBezTo>
                <a:cubicBezTo>
                  <a:pt x="21590" y="20320"/>
                  <a:pt x="19571" y="25270"/>
                  <a:pt x="19050" y="30480"/>
                </a:cubicBezTo>
                <a:cubicBezTo>
                  <a:pt x="15755" y="63433"/>
                  <a:pt x="16543" y="96819"/>
                  <a:pt x="11430" y="129540"/>
                </a:cubicBezTo>
                <a:cubicBezTo>
                  <a:pt x="10115" y="137957"/>
                  <a:pt x="3810" y="144780"/>
                  <a:pt x="0" y="152400"/>
                </a:cubicBezTo>
                <a:cubicBezTo>
                  <a:pt x="2540" y="186690"/>
                  <a:pt x="485" y="221634"/>
                  <a:pt x="7620" y="255270"/>
                </a:cubicBezTo>
                <a:cubicBezTo>
                  <a:pt x="9678" y="264973"/>
                  <a:pt x="21967" y="269397"/>
                  <a:pt x="26670" y="278130"/>
                </a:cubicBezTo>
                <a:cubicBezTo>
                  <a:pt x="31053" y="286271"/>
                  <a:pt x="31750" y="295910"/>
                  <a:pt x="34290" y="304800"/>
                </a:cubicBezTo>
                <a:cubicBezTo>
                  <a:pt x="33020" y="353060"/>
                  <a:pt x="33920" y="401426"/>
                  <a:pt x="30480" y="449580"/>
                </a:cubicBezTo>
                <a:cubicBezTo>
                  <a:pt x="30075" y="455245"/>
                  <a:pt x="24854" y="459502"/>
                  <a:pt x="22860" y="464820"/>
                </a:cubicBezTo>
                <a:cubicBezTo>
                  <a:pt x="21021" y="469723"/>
                  <a:pt x="20320" y="474980"/>
                  <a:pt x="19050" y="480060"/>
                </a:cubicBezTo>
                <a:cubicBezTo>
                  <a:pt x="21590" y="488950"/>
                  <a:pt x="20994" y="499432"/>
                  <a:pt x="26670" y="506730"/>
                </a:cubicBezTo>
                <a:cubicBezTo>
                  <a:pt x="30869" y="512129"/>
                  <a:pt x="39316" y="511949"/>
                  <a:pt x="45720" y="514350"/>
                </a:cubicBezTo>
                <a:cubicBezTo>
                  <a:pt x="59109" y="519371"/>
                  <a:pt x="59959" y="518722"/>
                  <a:pt x="76200" y="521970"/>
                </a:cubicBezTo>
                <a:lnTo>
                  <a:pt x="441960" y="518160"/>
                </a:lnTo>
                <a:close/>
              </a:path>
            </a:pathLst>
          </a:custGeom>
          <a:noFill/>
          <a:ln w="9525" cap="sq" cmpd="sng" algn="ctr">
            <a:solidFill>
              <a:srgbClr val="F5053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041BD64-4DD3-BF71-8C7F-3A651291DF24}"/>
              </a:ext>
            </a:extLst>
          </p:cNvPr>
          <p:cNvCxnSpPr>
            <a:cxnSpLocks/>
          </p:cNvCxnSpPr>
          <p:nvPr/>
        </p:nvCxnSpPr>
        <p:spPr>
          <a:xfrm flipH="1">
            <a:off x="10402529" y="249596"/>
            <a:ext cx="1376516" cy="743462"/>
          </a:xfrm>
          <a:prstGeom prst="line">
            <a:avLst/>
          </a:prstGeom>
          <a:noFill/>
          <a:ln w="15875" cap="flat" cmpd="sng" algn="ctr">
            <a:solidFill>
              <a:schemeClr val="accent6"/>
            </a:solidFill>
            <a:prstDash val="solid"/>
          </a:ln>
          <a:effectLst/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6AA8BA19-6980-8CD7-AB5C-B000290BFEF5}"/>
              </a:ext>
            </a:extLst>
          </p:cNvPr>
          <p:cNvCxnSpPr>
            <a:cxnSpLocks/>
          </p:cNvCxnSpPr>
          <p:nvPr/>
        </p:nvCxnSpPr>
        <p:spPr>
          <a:xfrm flipH="1">
            <a:off x="10432715" y="2015872"/>
            <a:ext cx="427962" cy="864980"/>
          </a:xfrm>
          <a:prstGeom prst="line">
            <a:avLst/>
          </a:prstGeom>
          <a:noFill/>
          <a:ln w="15875" cap="flat" cmpd="sng" algn="ctr">
            <a:solidFill>
              <a:schemeClr val="accent6"/>
            </a:solidFill>
            <a:prstDash val="solid"/>
          </a:ln>
          <a:effectLst/>
        </p:spPr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7B7BEBF-0E5D-A6A1-7BD1-147F306D7797}"/>
              </a:ext>
            </a:extLst>
          </p:cNvPr>
          <p:cNvCxnSpPr>
            <a:cxnSpLocks/>
          </p:cNvCxnSpPr>
          <p:nvPr/>
        </p:nvCxnSpPr>
        <p:spPr>
          <a:xfrm flipH="1">
            <a:off x="8987069" y="2880852"/>
            <a:ext cx="1052281" cy="259025"/>
          </a:xfrm>
          <a:prstGeom prst="line">
            <a:avLst/>
          </a:prstGeom>
          <a:noFill/>
          <a:ln w="15875" cap="flat" cmpd="sng" algn="ctr">
            <a:solidFill>
              <a:schemeClr val="accent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661764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76B6B-B738-632D-C521-07F24CAD9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y Client : ERIN ROBINS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9EA34D5-5178-BD21-17D5-E748C24C4DEA}"/>
              </a:ext>
            </a:extLst>
          </p:cNvPr>
          <p:cNvSpPr txBox="1">
            <a:spLocks/>
          </p:cNvSpPr>
          <p:nvPr/>
        </p:nvSpPr>
        <p:spPr>
          <a:xfrm>
            <a:off x="695324" y="1243884"/>
            <a:ext cx="6630035" cy="56165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50000"/>
              <a:buFont typeface="Audi Type Normal" panose="000B0503040202020203" pitchFamily="34" charset="0"/>
              <a:buChar char="–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 dirty="0">
                <a:latin typeface="+mn-lt"/>
              </a:rPr>
              <a:t>Erin is from Seattle, 47 years old, married, has 2 kids and a cat,</a:t>
            </a:r>
            <a:br>
              <a:rPr lang="en-US" b="1" dirty="0">
                <a:latin typeface="+mn-lt"/>
              </a:rPr>
            </a:br>
            <a:r>
              <a:rPr lang="en-US" b="1" dirty="0">
                <a:latin typeface="+mn-lt"/>
              </a:rPr>
              <a:t>and she loves hiking in the mountains around Seattle. </a:t>
            </a:r>
          </a:p>
          <a:p>
            <a:pPr lvl="1"/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Professional real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estat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investor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,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inherited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money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from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her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father</a:t>
            </a:r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lvl="1"/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Likes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o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do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socially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responsibl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projects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,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wher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sh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can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mak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a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differenc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in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h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area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by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upgrading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houses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and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h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whol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neighborhood</a:t>
            </a:r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lvl="1"/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Looks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for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interesting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houses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in </a:t>
            </a:r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poor neighborhoods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Does buying &amp; selling</a:t>
            </a:r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lvl="1"/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Does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not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need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much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profits</a:t>
            </a:r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marL="0" lvl="1" indent="0">
              <a:buNone/>
            </a:pPr>
            <a:endParaRPr lang="de-DE" b="1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marL="0" lvl="1" indent="0">
              <a:buNone/>
            </a:pP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I, Andreas, am a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data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b="1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consultant</a:t>
            </a:r>
            <a:r>
              <a:rPr lang="de-DE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b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with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deep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insights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in Kings County real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estate</a:t>
            </a:r>
            <a:b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and a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shared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lov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for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hiking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(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we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got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o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know</a:t>
            </a:r>
            <a:b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each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other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in a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hiking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de-DE" dirty="0" err="1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group</a:t>
            </a:r>
            <a:r>
              <a:rPr lang="de-DE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). </a:t>
            </a:r>
          </a:p>
          <a:p>
            <a:pPr lvl="1"/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lvl="1"/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D491C81-4CFC-7458-294A-59C220ABCE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3440" y="3967800"/>
            <a:ext cx="4358410" cy="1864828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9E77147-65D2-0414-6885-4CE3086AD6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7786" y="208280"/>
            <a:ext cx="4286250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1997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FA077-EA5C-84BE-8A47-1A48FE9F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EB095CC-B8CF-83EB-A82A-2842619EB515}"/>
              </a:ext>
            </a:extLst>
          </p:cNvPr>
          <p:cNvSpPr txBox="1">
            <a:spLocks/>
          </p:cNvSpPr>
          <p:nvPr/>
        </p:nvSpPr>
        <p:spPr>
          <a:xfrm>
            <a:off x="695324" y="1325164"/>
            <a:ext cx="11341101" cy="56165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50000"/>
              <a:buFont typeface="Audi Type Normal" panose="000B0503040202020203" pitchFamily="34" charset="0"/>
              <a:buChar char="–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+mn-lt"/>
              </a:rPr>
              <a:t>Some characteristics of the data 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Data of house sales in King County, WA, USA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ime span from May 2014 – May 2015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about 21.500 houses in King County. </a:t>
            </a:r>
          </a:p>
          <a:p>
            <a:pPr lvl="1"/>
            <a:endParaRPr lang="en-US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marL="0" lvl="1" indent="0">
              <a:buNone/>
            </a:pPr>
            <a:r>
              <a:rPr lang="en-US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Restrictions based on Erin’s target market (poor neighborhoods) 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Poor areas, defined by Erin : Lowest 10% of mean house prices in ZIP code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That means the mean price is just below 250.000 USD. </a:t>
            </a:r>
          </a:p>
          <a:p>
            <a:pPr lvl="1"/>
            <a:endParaRPr lang="en-US" b="1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  <a:p>
            <a:pPr marL="0" lvl="1" indent="0">
              <a:buNone/>
            </a:pPr>
            <a:r>
              <a:rPr lang="en-US" b="1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Questions from Erin that she wants some answers on : </a:t>
            </a:r>
          </a:p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Are the areas of my interest concentrated, or spread all over Kings county? </a:t>
            </a:r>
          </a:p>
          <a:p>
            <a:pPr lvl="1"/>
            <a:r>
              <a:rPr lang="en-US" dirty="0"/>
              <a:t>I would like to support areas that are picking up in popularity to give them a further boost. Are there areas in poorer neighborhood that grow more than the average in Kings county? </a:t>
            </a:r>
          </a:p>
          <a:p>
            <a:pPr lvl="1"/>
            <a:r>
              <a:rPr lang="en-US" dirty="0"/>
              <a:t>When are good times in the year to buy and sell a house? </a:t>
            </a:r>
          </a:p>
          <a:p>
            <a:pPr lvl="1"/>
            <a:r>
              <a:rPr lang="en-US" dirty="0"/>
              <a:t>When looking only at the price, do I maybe miss something and still buy (relatively) expensive? 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e-DE" b="1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3D5D3E8-7194-3FF3-FC08-509C160715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9874" y="111064"/>
            <a:ext cx="5277486" cy="305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813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FA077-EA5C-84BE-8A47-1A48FE9F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QUESTION 1 - Are the areas of my interest concentrated, or spread all over Kings county?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EB095CC-B8CF-83EB-A82A-2842619EB515}"/>
              </a:ext>
            </a:extLst>
          </p:cNvPr>
          <p:cNvSpPr txBox="1">
            <a:spLocks/>
          </p:cNvSpPr>
          <p:nvPr/>
        </p:nvSpPr>
        <p:spPr>
          <a:xfrm>
            <a:off x="695324" y="1325164"/>
            <a:ext cx="11341101" cy="56165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50000"/>
              <a:buFont typeface="Audi Type Normal" panose="000B0503040202020203" pitchFamily="34" charset="0"/>
              <a:buChar char="–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 dirty="0">
                <a:latin typeface="+mn-lt"/>
              </a:rPr>
              <a:t>Hypothesis 1 : </a:t>
            </a:r>
            <a:r>
              <a:rPr lang="en-US" b="1" dirty="0"/>
              <a:t>The lowest-priced houses (bottom 10%) in the entire region are concentrated in a few of all the ZIP codes, indicating highly localized investment zones.</a:t>
            </a:r>
          </a:p>
          <a:p>
            <a:pPr lvl="1"/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A4315FD-91E2-0B05-70E2-10041D7731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387" y="1860650"/>
            <a:ext cx="8611374" cy="4997349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048AF6C3-960C-8BE6-61C4-090A6E6AB5C0}"/>
              </a:ext>
            </a:extLst>
          </p:cNvPr>
          <p:cNvCxnSpPr/>
          <p:nvPr/>
        </p:nvCxnSpPr>
        <p:spPr>
          <a:xfrm>
            <a:off x="1209040" y="5730240"/>
            <a:ext cx="8138160" cy="0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CE02011D-B6B2-6911-533A-93AC6DDCD5D1}"/>
              </a:ext>
            </a:extLst>
          </p:cNvPr>
          <p:cNvSpPr txBox="1"/>
          <p:nvPr/>
        </p:nvSpPr>
        <p:spPr>
          <a:xfrm>
            <a:off x="9090986" y="5420273"/>
            <a:ext cx="2268071" cy="2251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10 % </a:t>
            </a:r>
            <a:r>
              <a:rPr kumimoji="0" lang="de-DE" sz="14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of</a:t>
            </a:r>
            <a:r>
              <a:rPr kumimoji="0" lang="de-DE" sz="14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4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mean</a:t>
            </a:r>
            <a:r>
              <a:rPr lang="de-DE" sz="14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lang="de-DE" sz="1400" kern="0" dirty="0" err="1">
                <a:latin typeface="Audi Type Normal" panose="020B0503040200000003" pitchFamily="34" charset="0"/>
                <a:cs typeface="Audi Type Normal" panose="020B0503040200000003" pitchFamily="34" charset="0"/>
              </a:rPr>
              <a:t>prices</a:t>
            </a:r>
            <a:endParaRPr kumimoji="0" lang="de-DE" sz="140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latin typeface="Audi Type Normal" panose="020B0503040200000003" pitchFamily="34" charset="0"/>
              <a:cs typeface="Audi Type Normal" panose="020B0503040200000003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DD50DF4-C07E-D5F2-A54C-F9349DF876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2426" y="2543753"/>
            <a:ext cx="2217094" cy="2058730"/>
          </a:xfrm>
          <a:prstGeom prst="rect">
            <a:avLst/>
          </a:prstGeom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3F6802F5-6212-F95F-F4AE-CBCF74D0E44A}"/>
              </a:ext>
            </a:extLst>
          </p:cNvPr>
          <p:cNvSpPr/>
          <p:nvPr/>
        </p:nvSpPr>
        <p:spPr>
          <a:xfrm>
            <a:off x="584606" y="5488594"/>
            <a:ext cx="1425893" cy="1247486"/>
          </a:xfrm>
          <a:prstGeom prst="ellipse">
            <a:avLst/>
          </a:prstGeom>
          <a:noFill/>
          <a:ln w="9525" cap="sq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C376F59-4089-604E-C87C-3D8EF3C6C6E3}"/>
              </a:ext>
            </a:extLst>
          </p:cNvPr>
          <p:cNvCxnSpPr>
            <a:cxnSpLocks/>
          </p:cNvCxnSpPr>
          <p:nvPr/>
        </p:nvCxnSpPr>
        <p:spPr>
          <a:xfrm flipV="1">
            <a:off x="1757680" y="4466144"/>
            <a:ext cx="1473200" cy="1177389"/>
          </a:xfrm>
          <a:prstGeom prst="line">
            <a:avLst/>
          </a:prstGeom>
          <a:noFill/>
          <a:ln w="9525" cap="flat" cmpd="sng" algn="ctr">
            <a:solidFill>
              <a:srgbClr val="BF0A2D"/>
            </a:solidFill>
            <a:prstDash val="solid"/>
          </a:ln>
          <a:effectLst/>
        </p:spPr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49B4B3CF-50A9-9C4E-F15F-A4C5B3B548C7}"/>
              </a:ext>
            </a:extLst>
          </p:cNvPr>
          <p:cNvSpPr txBox="1"/>
          <p:nvPr/>
        </p:nvSpPr>
        <p:spPr>
          <a:xfrm>
            <a:off x="9341116" y="2071565"/>
            <a:ext cx="2676851" cy="2646878"/>
          </a:xfrm>
          <a:prstGeom prst="rect">
            <a:avLst/>
          </a:prstGeom>
          <a:solidFill>
            <a:srgbClr val="EEEFDD"/>
          </a:solidFill>
        </p:spPr>
        <p:txBody>
          <a:bodyPr wrap="square">
            <a:spAutoFit/>
          </a:bodyPr>
          <a:lstStyle/>
          <a:p>
            <a:pPr lvl="1"/>
            <a:endParaRPr lang="en-US" sz="1600" dirty="0">
              <a:highlight>
                <a:srgbClr val="FFFFFF"/>
              </a:highlight>
              <a:latin typeface="+mn-lt"/>
            </a:endParaRPr>
          </a:p>
          <a:p>
            <a:pPr lvl="1"/>
            <a:r>
              <a:rPr lang="en-US" sz="1500" dirty="0">
                <a:solidFill>
                  <a:srgbClr val="161718"/>
                </a:solidFill>
                <a:latin typeface="+mn-lt"/>
              </a:rPr>
              <a:t>Bottom 10 % of houses are in only 3 (&lt; 5%) of all ZIP codes and highly localized </a:t>
            </a:r>
            <a:br>
              <a:rPr lang="en-US" sz="1500" dirty="0">
                <a:solidFill>
                  <a:srgbClr val="161718"/>
                </a:solidFill>
                <a:latin typeface="+mn-lt"/>
              </a:rPr>
            </a:br>
            <a:r>
              <a:rPr lang="en-US" sz="1500" dirty="0">
                <a:solidFill>
                  <a:srgbClr val="161718"/>
                </a:solidFill>
                <a:latin typeface="+mn-lt"/>
              </a:rPr>
              <a:t>(</a:t>
            </a:r>
            <a:r>
              <a:rPr lang="en-US" sz="1500" b="1" dirty="0">
                <a:solidFill>
                  <a:srgbClr val="161718"/>
                </a:solidFill>
                <a:latin typeface="+mn-lt"/>
              </a:rPr>
              <a:t>98002, 98168, 98032</a:t>
            </a:r>
            <a:r>
              <a:rPr lang="en-US" sz="1500" dirty="0">
                <a:solidFill>
                  <a:srgbClr val="161718"/>
                </a:solidFill>
                <a:latin typeface="+mn-lt"/>
              </a:rPr>
              <a:t>)</a:t>
            </a:r>
          </a:p>
          <a:p>
            <a:pPr lvl="1"/>
            <a:endParaRPr lang="en-US" sz="1500" dirty="0">
              <a:solidFill>
                <a:srgbClr val="161718"/>
              </a:solidFill>
            </a:endParaRPr>
          </a:p>
          <a:p>
            <a:pPr lvl="1"/>
            <a:r>
              <a:rPr lang="en-US" sz="1500" dirty="0">
                <a:solidFill>
                  <a:srgbClr val="161718"/>
                </a:solidFill>
              </a:rPr>
              <a:t>Erin wants to look into the </a:t>
            </a:r>
            <a:r>
              <a:rPr lang="en-US" sz="1500" b="1" dirty="0">
                <a:solidFill>
                  <a:srgbClr val="161718"/>
                </a:solidFill>
              </a:rPr>
              <a:t>5 ZIP codes</a:t>
            </a:r>
            <a:r>
              <a:rPr lang="en-US" sz="1500" dirty="0">
                <a:solidFill>
                  <a:srgbClr val="161718"/>
                </a:solidFill>
              </a:rPr>
              <a:t> with the lowest mean prices </a:t>
            </a:r>
            <a:r>
              <a:rPr lang="en-US" sz="1500" b="1" dirty="0">
                <a:solidFill>
                  <a:srgbClr val="161718"/>
                </a:solidFill>
              </a:rPr>
              <a:t>to have more choice</a:t>
            </a:r>
            <a:r>
              <a:rPr lang="en-US" sz="1500" dirty="0">
                <a:solidFill>
                  <a:srgbClr val="161718"/>
                </a:solidFill>
              </a:rPr>
              <a:t>. </a:t>
            </a:r>
            <a:endParaRPr lang="de-DE" sz="1500" dirty="0">
              <a:solidFill>
                <a:srgbClr val="1617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468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692903-E1C9-BBEF-F118-E84DC9BFB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QUESTION 1 - Are the areas of my interest concentrated, or spread all over Kings county? Where are they? </a:t>
            </a:r>
            <a:endParaRPr lang="de-DE" dirty="0"/>
          </a:p>
        </p:txBody>
      </p:sp>
      <p:pic>
        <p:nvPicPr>
          <p:cNvPr id="6" name="Grafik 5" descr="Ein Bild, das Karte, Atlas, Text enthält.&#10;&#10;KI-generierte Inhalte können fehlerhaft sein.">
            <a:extLst>
              <a:ext uri="{FF2B5EF4-FFF2-40B4-BE49-F238E27FC236}">
                <a16:creationId xmlns:a16="http://schemas.microsoft.com/office/drawing/2014/main" id="{8A3024A9-804A-8600-D3CE-1EF2F1681E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200"/>
            <a:ext cx="12192000" cy="421382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9E7E8B9-927D-9572-B4DF-DF47E7F55B97}"/>
              </a:ext>
            </a:extLst>
          </p:cNvPr>
          <p:cNvSpPr txBox="1"/>
          <p:nvPr/>
        </p:nvSpPr>
        <p:spPr>
          <a:xfrm>
            <a:off x="874087" y="5349076"/>
            <a:ext cx="8341360" cy="1002967"/>
          </a:xfrm>
          <a:prstGeom prst="rect">
            <a:avLst/>
          </a:prstGeom>
          <a:solidFill>
            <a:srgbClr val="EEEFDD"/>
          </a:solidFill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se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r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5 ZIP Code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reas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at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w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r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going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o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focus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on in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upcoming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nalysis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. </a:t>
            </a: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y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r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all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mor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or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less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spread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round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Seattle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irport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or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in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entry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lan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,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wher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r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could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b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quit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som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nois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. </a:t>
            </a: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red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and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blu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reas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(ZIP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codes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98001 and 98002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re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further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away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,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henc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should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hav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less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nois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). 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A963E90B-2BB6-213D-BDD1-F60294204ADE}"/>
              </a:ext>
            </a:extLst>
          </p:cNvPr>
          <p:cNvSpPr/>
          <p:nvPr/>
        </p:nvSpPr>
        <p:spPr>
          <a:xfrm>
            <a:off x="5142271" y="1740310"/>
            <a:ext cx="314632" cy="501445"/>
          </a:xfrm>
          <a:prstGeom prst="ellipse">
            <a:avLst/>
          </a:prstGeom>
          <a:noFill/>
          <a:ln w="25400" cap="sq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81389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FA077-EA5C-84BE-8A47-1A48FE9F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QUESTION 2 - Are there areas in poorer neighborhood that grow more than the average in Kings county? </a:t>
            </a:r>
            <a:b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endParaRPr lang="en-US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EB095CC-B8CF-83EB-A82A-2842619EB515}"/>
              </a:ext>
            </a:extLst>
          </p:cNvPr>
          <p:cNvSpPr txBox="1">
            <a:spLocks/>
          </p:cNvSpPr>
          <p:nvPr/>
        </p:nvSpPr>
        <p:spPr>
          <a:xfrm>
            <a:off x="614044" y="569298"/>
            <a:ext cx="11341101" cy="56165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50000"/>
              <a:buFont typeface="Audi Type Normal" panose="000B0503040202020203" pitchFamily="34" charset="0"/>
              <a:buChar char="–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 dirty="0">
                <a:latin typeface="+mn-lt"/>
              </a:rPr>
              <a:t>Hypothesis 2 : </a:t>
            </a:r>
            <a:r>
              <a:rPr lang="en-US" b="1" dirty="0"/>
              <a:t>The Price-per-</a:t>
            </a:r>
            <a:r>
              <a:rPr lang="en-US" b="1" dirty="0" err="1"/>
              <a:t>SqFt</a:t>
            </a:r>
            <a:r>
              <a:rPr lang="en-US" b="1" dirty="0"/>
              <a:t> growth rate year-over-year in the target neighborhoods will exceed the city average Price-per-</a:t>
            </a:r>
            <a:r>
              <a:rPr lang="en-US" b="1" dirty="0" err="1"/>
              <a:t>SqFt</a:t>
            </a:r>
            <a:r>
              <a:rPr lang="en-US" b="1" dirty="0"/>
              <a:t> growth rate over the next years based on the available history.</a:t>
            </a:r>
          </a:p>
          <a:p>
            <a:pPr lvl="1"/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61CF7A4-F327-8319-A8E5-066C8D46E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6441" b="13671"/>
          <a:stretch/>
        </p:blipFill>
        <p:spPr>
          <a:xfrm>
            <a:off x="0" y="1244595"/>
            <a:ext cx="12192000" cy="2524765"/>
          </a:xfrm>
          <a:prstGeom prst="rect">
            <a:avLst/>
          </a:prstGeom>
        </p:spPr>
      </p:pic>
      <p:pic>
        <p:nvPicPr>
          <p:cNvPr id="16" name="Grafik 15" descr="Ein Bild, das Text, Reihe, Diagramm, Farbigkeit enthält.&#10;&#10;KI-generierte Inhalte können fehlerhaft sein.">
            <a:extLst>
              <a:ext uri="{FF2B5EF4-FFF2-40B4-BE49-F238E27FC236}">
                <a16:creationId xmlns:a16="http://schemas.microsoft.com/office/drawing/2014/main" id="{23187727-D5EE-3AA6-1DA9-6837F46B93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10" b="6735"/>
          <a:stretch/>
        </p:blipFill>
        <p:spPr>
          <a:xfrm>
            <a:off x="0" y="4783449"/>
            <a:ext cx="12192000" cy="2074551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C93ED813-EE40-41A5-A4B6-AB136753D838}"/>
              </a:ext>
            </a:extLst>
          </p:cNvPr>
          <p:cNvSpPr txBox="1"/>
          <p:nvPr/>
        </p:nvSpPr>
        <p:spPr>
          <a:xfrm>
            <a:off x="377189" y="3876936"/>
            <a:ext cx="10910243" cy="749051"/>
          </a:xfrm>
          <a:prstGeom prst="rect">
            <a:avLst/>
          </a:prstGeom>
          <a:solidFill>
            <a:srgbClr val="EEEFDD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overall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market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grew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by</a:t>
            </a:r>
            <a:r>
              <a:rPr kumimoji="0" lang="de-DE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1,44% </a:t>
            </a:r>
            <a:r>
              <a:rPr lang="de-DE" sz="1500" kern="0" dirty="0" err="1">
                <a:latin typeface="Audi Type Normal" panose="020B0503040200000003" pitchFamily="34" charset="0"/>
                <a:cs typeface="Audi Type Normal" panose="020B0503040200000003" pitchFamily="34" charset="0"/>
              </a:rPr>
              <a:t>from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 May 2014 </a:t>
            </a:r>
            <a:r>
              <a:rPr lang="de-DE" sz="1500" kern="0" dirty="0" err="1">
                <a:latin typeface="Audi Type Normal" panose="020B0503040200000003" pitchFamily="34" charset="0"/>
                <a:cs typeface="Audi Type Normal" panose="020B0503040200000003" pitchFamily="34" charset="0"/>
              </a:rPr>
              <a:t>to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 May 2015. </a:t>
            </a: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Most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of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poor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ZIP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codes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did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better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, </a:t>
            </a:r>
            <a:r>
              <a:rPr lang="de-DE" sz="1500" kern="0" dirty="0" err="1">
                <a:latin typeface="Audi Type Normal" panose="020B0503040200000003" pitchFamily="34" charset="0"/>
                <a:cs typeface="Audi Type Normal" panose="020B0503040200000003" pitchFamily="34" charset="0"/>
              </a:rPr>
              <a:t>some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lang="de-DE" sz="1500" kern="0" dirty="0" err="1">
                <a:latin typeface="Audi Type Normal" panose="020B0503040200000003" pitchFamily="34" charset="0"/>
                <a:cs typeface="Audi Type Normal" panose="020B0503040200000003" pitchFamily="34" charset="0"/>
              </a:rPr>
              <a:t>much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lang="de-DE" sz="1500" kern="0" dirty="0" err="1">
                <a:latin typeface="Audi Type Normal" panose="020B0503040200000003" pitchFamily="34" charset="0"/>
                <a:cs typeface="Audi Type Normal" panose="020B0503040200000003" pitchFamily="34" charset="0"/>
              </a:rPr>
              <a:t>better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 (</a:t>
            </a:r>
            <a:r>
              <a:rPr lang="de-DE" sz="1500" b="1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98001 </a:t>
            </a:r>
            <a:r>
              <a:rPr lang="de-DE" sz="1500" b="1" kern="0" dirty="0" err="1">
                <a:latin typeface="Audi Type Normal" panose="020B0503040200000003" pitchFamily="34" charset="0"/>
                <a:cs typeface="Audi Type Normal" panose="020B0503040200000003" pitchFamily="34" charset="0"/>
              </a:rPr>
              <a:t>with</a:t>
            </a:r>
            <a:r>
              <a:rPr lang="de-DE" sz="1500" b="1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 28,8% 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and </a:t>
            </a:r>
            <a:r>
              <a:rPr lang="de-DE" sz="1500" b="1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98168 </a:t>
            </a:r>
            <a:r>
              <a:rPr lang="de-DE" sz="1500" b="1" kern="0" dirty="0" err="1">
                <a:latin typeface="Audi Type Normal" panose="020B0503040200000003" pitchFamily="34" charset="0"/>
                <a:cs typeface="Audi Type Normal" panose="020B0503040200000003" pitchFamily="34" charset="0"/>
              </a:rPr>
              <a:t>with</a:t>
            </a:r>
            <a:r>
              <a:rPr lang="de-DE" sz="1500" b="1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 22,0% </a:t>
            </a:r>
            <a:r>
              <a:rPr lang="de-DE" sz="1500" b="1" kern="0" dirty="0" err="1">
                <a:latin typeface="Audi Type Normal" panose="020B0503040200000003" pitchFamily="34" charset="0"/>
                <a:cs typeface="Audi Type Normal" panose="020B0503040200000003" pitchFamily="34" charset="0"/>
              </a:rPr>
              <a:t>growth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) 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 </a:t>
            </a:r>
            <a:r>
              <a:rPr lang="de-DE" sz="1500" b="1" kern="0" dirty="0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Hypothesis </a:t>
            </a:r>
            <a:r>
              <a:rPr lang="de-DE" sz="1500" b="1" kern="0" dirty="0" err="1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proven</a:t>
            </a:r>
            <a:r>
              <a:rPr lang="de-DE" sz="1500" b="1" kern="0" dirty="0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. </a:t>
            </a: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500" kern="0" dirty="0" err="1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Furterh</a:t>
            </a:r>
            <a:r>
              <a:rPr lang="de-DE" sz="1500" kern="0" dirty="0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h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int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: 98166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shows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th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more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stability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in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growth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, 98001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volatility</a:t>
            </a:r>
            <a:r>
              <a:rPr kumimoji="0" lang="de-DE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was </a:t>
            </a:r>
            <a:r>
              <a:rPr kumimoji="0" lang="de-DE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higher</a:t>
            </a:r>
            <a:endParaRPr kumimoji="0" lang="de-DE" sz="150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udi Type Normal" panose="020B0503040200000003" pitchFamily="34" charset="0"/>
              <a:cs typeface="Audi Type Normal" panose="020B05030402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29428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FA077-EA5C-84BE-8A47-1A48FE9F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QUESTION 3 - When are good times in the year to buy and sell a house? </a:t>
            </a:r>
            <a:b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b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endParaRPr lang="en-US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EB095CC-B8CF-83EB-A82A-2842619EB515}"/>
              </a:ext>
            </a:extLst>
          </p:cNvPr>
          <p:cNvSpPr txBox="1">
            <a:spLocks/>
          </p:cNvSpPr>
          <p:nvPr/>
        </p:nvSpPr>
        <p:spPr>
          <a:xfrm>
            <a:off x="647382" y="838200"/>
            <a:ext cx="11341101" cy="56165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50000"/>
              <a:buFont typeface="Audi Type Normal" panose="000B0503040202020203" pitchFamily="34" charset="0"/>
              <a:buChar char="–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 dirty="0">
                <a:latin typeface="+mn-lt"/>
              </a:rPr>
              <a:t>Hypothesis 3 : </a:t>
            </a:r>
            <a:r>
              <a:rPr lang="en-US" b="1" dirty="0"/>
              <a:t>Summer time is a good time to buy since most people think about vacation. January seems to be good to sell, since people had time over Christmas to investigate the market.</a:t>
            </a:r>
          </a:p>
          <a:p>
            <a:pPr lvl="1"/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0CE40B0-7527-3303-D5CC-68C1291637F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9631" b="13671"/>
          <a:stretch/>
        </p:blipFill>
        <p:spPr>
          <a:xfrm>
            <a:off x="0" y="1585366"/>
            <a:ext cx="12192000" cy="2189143"/>
          </a:xfrm>
          <a:prstGeom prst="rect">
            <a:avLst/>
          </a:prstGeom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12CC4EE0-7D1B-F95A-A58A-814E2AED3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345663"/>
              </p:ext>
            </p:extLst>
          </p:nvPr>
        </p:nvGraphicFramePr>
        <p:xfrm>
          <a:off x="599440" y="4251444"/>
          <a:ext cx="5618479" cy="19202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95604">
                  <a:extLst>
                    <a:ext uri="{9D8B030D-6E8A-4147-A177-3AD203B41FA5}">
                      <a16:colId xmlns:a16="http://schemas.microsoft.com/office/drawing/2014/main" val="2799491225"/>
                    </a:ext>
                  </a:extLst>
                </a:gridCol>
                <a:gridCol w="2036699">
                  <a:extLst>
                    <a:ext uri="{9D8B030D-6E8A-4147-A177-3AD203B41FA5}">
                      <a16:colId xmlns:a16="http://schemas.microsoft.com/office/drawing/2014/main" val="2213500008"/>
                    </a:ext>
                  </a:extLst>
                </a:gridCol>
                <a:gridCol w="2486176">
                  <a:extLst>
                    <a:ext uri="{9D8B030D-6E8A-4147-A177-3AD203B41FA5}">
                      <a16:colId xmlns:a16="http://schemas.microsoft.com/office/drawing/2014/main" val="3944869427"/>
                    </a:ext>
                  </a:extLst>
                </a:gridCol>
              </a:tblGrid>
              <a:tr h="248096">
                <a:tc>
                  <a:txBody>
                    <a:bodyPr/>
                    <a:lstStyle/>
                    <a:p>
                      <a:r>
                        <a:rPr lang="de-DE" sz="1200" dirty="0"/>
                        <a:t>ZIP 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Low </a:t>
                      </a:r>
                      <a:r>
                        <a:rPr lang="de-DE" sz="1200" dirty="0" err="1"/>
                        <a:t>price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High </a:t>
                      </a:r>
                      <a:r>
                        <a:rPr lang="de-DE" sz="1200" dirty="0" err="1"/>
                        <a:t>price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04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200" dirty="0"/>
                        <a:t>Overall </a:t>
                      </a:r>
                      <a:r>
                        <a:rPr lang="de-DE" sz="1200" dirty="0" err="1"/>
                        <a:t>market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Q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Q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0288779"/>
                  </a:ext>
                </a:extLst>
              </a:tr>
              <a:tr h="248096">
                <a:tc>
                  <a:txBody>
                    <a:bodyPr/>
                    <a:lstStyle/>
                    <a:p>
                      <a:r>
                        <a:rPr lang="de-DE" sz="1200" dirty="0"/>
                        <a:t>98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Q1</a:t>
                      </a:r>
                      <a:r>
                        <a:rPr lang="de-DE" sz="1200" dirty="0"/>
                        <a:t>/2015 (after </a:t>
                      </a:r>
                      <a:r>
                        <a:rPr lang="de-DE" sz="1200" dirty="0" err="1"/>
                        <a:t>low</a:t>
                      </a:r>
                      <a:r>
                        <a:rPr lang="de-DE" sz="1200" dirty="0"/>
                        <a:t> in Q2/1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Q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4762835"/>
                  </a:ext>
                </a:extLst>
              </a:tr>
              <a:tr h="248096">
                <a:tc>
                  <a:txBody>
                    <a:bodyPr/>
                    <a:lstStyle/>
                    <a:p>
                      <a:r>
                        <a:rPr lang="de-DE" sz="1200" dirty="0"/>
                        <a:t>98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Q1</a:t>
                      </a:r>
                      <a:r>
                        <a:rPr lang="de-DE" sz="1200" dirty="0"/>
                        <a:t>/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Q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478987"/>
                  </a:ext>
                </a:extLst>
              </a:tr>
              <a:tr h="248096">
                <a:tc>
                  <a:txBody>
                    <a:bodyPr/>
                    <a:lstStyle/>
                    <a:p>
                      <a:r>
                        <a:rPr lang="de-DE" sz="1200" dirty="0"/>
                        <a:t>980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Q4/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Q1 (apart </a:t>
                      </a:r>
                      <a:r>
                        <a:rPr lang="de-DE" sz="1200" dirty="0" err="1"/>
                        <a:t>from</a:t>
                      </a:r>
                      <a:r>
                        <a:rPr lang="de-DE" sz="1200" dirty="0"/>
                        <a:t> high in Q2/1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7685714"/>
                  </a:ext>
                </a:extLst>
              </a:tr>
              <a:tr h="248096">
                <a:tc>
                  <a:txBody>
                    <a:bodyPr/>
                    <a:lstStyle/>
                    <a:p>
                      <a:r>
                        <a:rPr lang="en-US" sz="1200" kern="0" dirty="0">
                          <a:latin typeface="Audi Type Normal" panose="020B0503040200000003" pitchFamily="34" charset="0"/>
                          <a:cs typeface="Audi Type Normal" panose="020B0503040200000003" pitchFamily="34" charset="0"/>
                        </a:rPr>
                        <a:t>98168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Q2/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Q2</a:t>
                      </a:r>
                      <a:r>
                        <a:rPr lang="de-DE" sz="1200" dirty="0"/>
                        <a:t>/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939930"/>
                  </a:ext>
                </a:extLst>
              </a:tr>
              <a:tr h="248096">
                <a:tc>
                  <a:txBody>
                    <a:bodyPr/>
                    <a:lstStyle/>
                    <a:p>
                      <a:r>
                        <a:rPr lang="de-DE" sz="1200" dirty="0"/>
                        <a:t>981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Q3/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/>
                        <a:t>Q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3892560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039DF9D1-5081-7D04-79C9-2DAB8D30D73A}"/>
              </a:ext>
            </a:extLst>
          </p:cNvPr>
          <p:cNvSpPr txBox="1"/>
          <p:nvPr/>
        </p:nvSpPr>
        <p:spPr>
          <a:xfrm>
            <a:off x="6532563" y="4251444"/>
            <a:ext cx="4636882" cy="1272913"/>
          </a:xfrm>
          <a:prstGeom prst="rect">
            <a:avLst/>
          </a:prstGeom>
          <a:solidFill>
            <a:srgbClr val="EEEFDD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Overall market has high in Q2 and a low in Q1.</a:t>
            </a:r>
          </a:p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Most poor ZIP codes act similarly, but with outliers </a:t>
            </a:r>
          </a:p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500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Hypothesis was wrong! </a:t>
            </a:r>
          </a:p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500" b="1" kern="0" dirty="0">
                <a:latin typeface="Audi Type Normal" panose="020B0503040200000003" pitchFamily="34" charset="0"/>
                <a:cs typeface="Audi Type Normal" panose="020B0503040200000003" pitchFamily="34" charset="0"/>
              </a:rPr>
              <a:t>Recommendation for Erin : Buy in Q1, sell in Q2. </a:t>
            </a:r>
            <a:endParaRPr lang="de-DE" sz="1500" b="1" kern="0" dirty="0">
              <a:latin typeface="Audi Type Normal" panose="020B0503040200000003" pitchFamily="34" charset="0"/>
              <a:cs typeface="Audi Type Normal" panose="020B0503040200000003" pitchFamily="34" charset="0"/>
            </a:endParaRPr>
          </a:p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udi Type Normal" panose="020B0503040200000003" pitchFamily="34" charset="0"/>
              <a:cs typeface="Audi Type Normal" panose="020B05030402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325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111918-7B37-BF2A-DDCF-20A317AB24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87512"/>
            <a:ext cx="12192000" cy="312793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0DFA077-EA5C-84BE-8A47-1A48FE9F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QUESTION 4 - When looking only at the price, do I maybe miss something and still buy (relatively) expensive?</a:t>
            </a:r>
            <a:b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b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endParaRPr lang="en-US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EB095CC-B8CF-83EB-A82A-2842619EB515}"/>
              </a:ext>
            </a:extLst>
          </p:cNvPr>
          <p:cNvSpPr txBox="1">
            <a:spLocks/>
          </p:cNvSpPr>
          <p:nvPr/>
        </p:nvSpPr>
        <p:spPr>
          <a:xfrm>
            <a:off x="578481" y="941030"/>
            <a:ext cx="11341101" cy="56165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50000"/>
              <a:buFont typeface="Audi Type Normal" panose="000B0503040202020203" pitchFamily="34" charset="0"/>
              <a:buChar char="–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 dirty="0">
                <a:latin typeface="+mn-lt"/>
              </a:rPr>
              <a:t>Hypothesis 4 : </a:t>
            </a:r>
            <a:r>
              <a:rPr lang="en-US" b="1" dirty="0"/>
              <a:t>The average House </a:t>
            </a:r>
            <a:r>
              <a:rPr lang="en-US" b="1" dirty="0" err="1"/>
              <a:t>SqFt</a:t>
            </a:r>
            <a:r>
              <a:rPr lang="en-US" b="1" dirty="0"/>
              <a:t> in target neighborhoods is significantly smaller than the city average, suggesting the low price is partially driven by unit size, not just location risk.</a:t>
            </a:r>
          </a:p>
          <a:p>
            <a:pPr lvl="1"/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93ED813-EE40-41A5-A4B6-AB136753D838}"/>
              </a:ext>
            </a:extLst>
          </p:cNvPr>
          <p:cNvSpPr txBox="1"/>
          <p:nvPr/>
        </p:nvSpPr>
        <p:spPr>
          <a:xfrm>
            <a:off x="539747" y="4361028"/>
            <a:ext cx="10737853" cy="1069780"/>
          </a:xfrm>
          <a:prstGeom prst="rect">
            <a:avLst/>
          </a:prstGeom>
          <a:solidFill>
            <a:srgbClr val="EEEFDD"/>
          </a:solidFill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Hypothesis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is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right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: </a:t>
            </a:r>
            <a:b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</a:b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Our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Zip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codes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all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have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a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lower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mean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square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footage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,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making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em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only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cheaper</a:t>
            </a:r>
            <a:r>
              <a:rPr kumimoji="0" lang="de-DE" sz="16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not </a:t>
            </a:r>
            <a:r>
              <a:rPr kumimoji="0" lang="de-DE" sz="16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by</a:t>
            </a:r>
            <a:r>
              <a:rPr kumimoji="0" lang="de-DE" sz="16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price</a:t>
            </a:r>
            <a:r>
              <a:rPr kumimoji="0" lang="de-DE" sz="16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/</a:t>
            </a:r>
            <a:r>
              <a:rPr kumimoji="0" lang="de-DE" sz="16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sqft</a:t>
            </a:r>
            <a:r>
              <a:rPr kumimoji="0" lang="de-DE" sz="16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, but </a:t>
            </a:r>
            <a:r>
              <a:rPr kumimoji="0" lang="de-DE" sz="16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by</a:t>
            </a:r>
            <a:r>
              <a:rPr kumimoji="0" lang="de-DE" sz="16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overall</a:t>
            </a:r>
            <a:r>
              <a:rPr kumimoji="0" lang="de-DE" sz="16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  <a:r>
              <a:rPr kumimoji="0" lang="de-DE" sz="1600" b="1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price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.</a:t>
            </a: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600" kern="0" dirty="0">
              <a:latin typeface="Audi Type Normal" panose="020B0503040200000003" pitchFamily="34" charset="0"/>
              <a:cs typeface="Audi Type Normal" panose="020B0503040200000003" pitchFamily="34" charset="0"/>
            </a:endParaRP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600" kern="0" dirty="0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 So </a:t>
            </a:r>
            <a:r>
              <a:rPr lang="de-DE" sz="1600" kern="0" dirty="0" err="1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let‘s</a:t>
            </a:r>
            <a:r>
              <a:rPr lang="de-DE" sz="1600" kern="0" dirty="0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</a:t>
            </a:r>
            <a:r>
              <a:rPr lang="de-DE" sz="1600" kern="0" dirty="0" err="1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look</a:t>
            </a:r>
            <a:r>
              <a:rPr lang="de-DE" sz="1600" kern="0" dirty="0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at </a:t>
            </a:r>
            <a:r>
              <a:rPr lang="de-DE" sz="1600" kern="0" dirty="0" err="1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price</a:t>
            </a:r>
            <a:r>
              <a:rPr lang="de-DE" sz="1600" kern="0" dirty="0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/</a:t>
            </a:r>
            <a:r>
              <a:rPr lang="de-DE" sz="1600" kern="0" dirty="0" err="1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sqft</a:t>
            </a:r>
            <a:r>
              <a:rPr lang="de-DE" sz="1600" kern="0" dirty="0">
                <a:latin typeface="Audi Type Normal" panose="020B0503040200000003" pitchFamily="34" charset="0"/>
                <a:cs typeface="Audi Type Normal" panose="020B0503040200000003" pitchFamily="34" charset="0"/>
                <a:sym typeface="Wingdings" panose="05000000000000000000" pitchFamily="2" charset="2"/>
              </a:rPr>
              <a:t> !</a:t>
            </a:r>
            <a:r>
              <a:rPr kumimoji="0" lang="de-DE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45124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FA077-EA5C-84BE-8A47-1A48FE9F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  <a:t>QUESTION 4 - When looking only at the price, do I maybe miss something and still buy (relatively) expensive?</a:t>
            </a:r>
            <a:b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br>
              <a:rPr lang="en-US" dirty="0">
                <a:solidFill>
                  <a:srgbClr val="161718"/>
                </a:solidFill>
                <a:highlight>
                  <a:srgbClr val="FFFFFF"/>
                </a:highlight>
                <a:latin typeface="+mn-lt"/>
              </a:rPr>
            </a:br>
            <a:endParaRPr lang="en-US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EB095CC-B8CF-83EB-A82A-2842619EB515}"/>
              </a:ext>
            </a:extLst>
          </p:cNvPr>
          <p:cNvSpPr txBox="1">
            <a:spLocks/>
          </p:cNvSpPr>
          <p:nvPr/>
        </p:nvSpPr>
        <p:spPr>
          <a:xfrm>
            <a:off x="578481" y="941030"/>
            <a:ext cx="11341101" cy="56165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5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SzPct val="150000"/>
              <a:buFont typeface="Audi Type Normal" panose="000B0503040202020203" pitchFamily="34" charset="0"/>
              <a:buChar char="›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SzPct val="150000"/>
              <a:buFont typeface="Audi Type Normal" panose="000B0503040202020203" pitchFamily="34" charset="0"/>
              <a:buChar char="–"/>
              <a:defRPr sz="1600" b="0" i="0" kern="1200">
                <a:solidFill>
                  <a:schemeClr val="tx1"/>
                </a:solidFill>
                <a:latin typeface="Audi Type Normal" panose="020B0503040200000003" pitchFamily="34" charset="0"/>
                <a:ea typeface="+mn-ea"/>
                <a:cs typeface="Audi Type Normal" panose="020B0503040200000003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b="1" dirty="0">
                <a:latin typeface="+mn-lt"/>
              </a:rPr>
              <a:t>Hypothesis 4 : </a:t>
            </a:r>
            <a:r>
              <a:rPr lang="en-US" dirty="0"/>
              <a:t>The average House </a:t>
            </a:r>
            <a:r>
              <a:rPr lang="en-US" dirty="0" err="1"/>
              <a:t>SqFt</a:t>
            </a:r>
            <a:r>
              <a:rPr lang="en-US" dirty="0"/>
              <a:t> in target neighborhoods is significantly smaller than the city average, suggesting the low price is partially driven by unit size, not just location risk </a:t>
            </a:r>
            <a:r>
              <a:rPr lang="en-US" b="1" dirty="0"/>
              <a:t>-  So let’s look at price/</a:t>
            </a:r>
            <a:r>
              <a:rPr lang="en-US" b="1" dirty="0" err="1"/>
              <a:t>sqft</a:t>
            </a:r>
            <a:r>
              <a:rPr lang="en-US" b="1" dirty="0"/>
              <a:t> !</a:t>
            </a:r>
          </a:p>
          <a:p>
            <a:pPr lvl="1"/>
            <a:endParaRPr lang="de-DE" dirty="0">
              <a:solidFill>
                <a:srgbClr val="161718"/>
              </a:solidFill>
              <a:highlight>
                <a:srgbClr val="FFFFFF"/>
              </a:highlight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93ED813-EE40-41A5-A4B6-AB136753D838}"/>
              </a:ext>
            </a:extLst>
          </p:cNvPr>
          <p:cNvSpPr txBox="1"/>
          <p:nvPr/>
        </p:nvSpPr>
        <p:spPr>
          <a:xfrm>
            <a:off x="7309654" y="4527251"/>
            <a:ext cx="4507408" cy="1764714"/>
          </a:xfrm>
          <a:prstGeom prst="rect">
            <a:avLst/>
          </a:prstGeom>
          <a:solidFill>
            <a:srgbClr val="EEEFDD"/>
          </a:solidFill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Our “cheapest” ZIP codes are in the list of the cheapest ones per </a:t>
            </a:r>
            <a:r>
              <a:rPr kumimoji="0" lang="en-US" sz="150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sqare</a:t>
            </a:r>
            <a:r>
              <a:rPr kumimoji="0" lang="en-US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foot</a:t>
            </a: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5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 98001, 98002, 98032 are within the 4 cheapest ZIP codes, whereas 98168 (one of the best growth value) is further down in the list.  </a:t>
            </a:r>
          </a:p>
          <a:p>
            <a:pPr marL="0" marR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5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udi Type Normal" panose="020B0503040200000003" pitchFamily="34" charset="0"/>
                <a:cs typeface="Audi Type Normal" panose="020B0503040200000003" pitchFamily="34" charset="0"/>
              </a:rPr>
              <a:t>This seems to confirm that Erin should go for 98001 as a first place to look for houses. </a:t>
            </a:r>
            <a:endParaRPr kumimoji="0" lang="de-DE" sz="1500" b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udi Type Normal" panose="020B0503040200000003" pitchFamily="34" charset="0"/>
              <a:cs typeface="Audi Type Normal" panose="020B0503040200000003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83DFD8B-8AEC-CECB-C7A6-7F4EBC2A5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552885"/>
            <a:ext cx="7024255" cy="525785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874892F-D630-6567-9184-100DBEB2059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8465" b="8247"/>
          <a:stretch/>
        </p:blipFill>
        <p:spPr>
          <a:xfrm>
            <a:off x="5277619" y="1760729"/>
            <a:ext cx="6914381" cy="2270944"/>
          </a:xfrm>
          <a:prstGeom prst="rect">
            <a:avLst/>
          </a:prstGeom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937B5CCF-E77B-4F83-5B44-FBC06616510F}"/>
              </a:ext>
            </a:extLst>
          </p:cNvPr>
          <p:cNvSpPr/>
          <p:nvPr/>
        </p:nvSpPr>
        <p:spPr>
          <a:xfrm>
            <a:off x="0" y="1552885"/>
            <a:ext cx="2441864" cy="961715"/>
          </a:xfrm>
          <a:prstGeom prst="ellipse">
            <a:avLst/>
          </a:prstGeom>
          <a:noFill/>
          <a:ln w="9525" cap="sq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de-DE" sz="1400" b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03E2C97-1409-2E3B-D992-0798845647ED}"/>
              </a:ext>
            </a:extLst>
          </p:cNvPr>
          <p:cNvCxnSpPr>
            <a:cxnSpLocks/>
          </p:cNvCxnSpPr>
          <p:nvPr/>
        </p:nvCxnSpPr>
        <p:spPr>
          <a:xfrm>
            <a:off x="2441864" y="2057400"/>
            <a:ext cx="2835755" cy="45720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381933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di VdT DE 16:9">
  <a:themeElements>
    <a:clrScheme name="Benutzerdefiniert 26">
      <a:dk1>
        <a:srgbClr val="000000"/>
      </a:dk1>
      <a:lt1>
        <a:srgbClr val="FFFFFF"/>
      </a:lt1>
      <a:dk2>
        <a:srgbClr val="F2F2F2"/>
      </a:dk2>
      <a:lt2>
        <a:srgbClr val="FFFFFF"/>
      </a:lt2>
      <a:accent1>
        <a:srgbClr val="F2F2F2"/>
      </a:accent1>
      <a:accent2>
        <a:srgbClr val="CCCCCC"/>
      </a:accent2>
      <a:accent3>
        <a:srgbClr val="808080"/>
      </a:accent3>
      <a:accent4>
        <a:srgbClr val="333333"/>
      </a:accent4>
      <a:accent5>
        <a:srgbClr val="000000"/>
      </a:accent5>
      <a:accent6>
        <a:srgbClr val="F50537"/>
      </a:accent6>
      <a:hlink>
        <a:srgbClr val="000000"/>
      </a:hlink>
      <a:folHlink>
        <a:srgbClr val="CCCCCC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 cap="sq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1"/>
          </a:solidFill>
          <a:prstDash val="soli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latin typeface="Audi Type Normal" panose="020B0503040200000003" pitchFamily="34" charset="0"/>
            <a:cs typeface="Audi Type Normal" panose="020B0503040200000003" pitchFamily="34" charset="0"/>
          </a:defRPr>
        </a:defPPr>
      </a:lstStyle>
    </a:txDef>
  </a:objectDefaults>
  <a:extraClrSchemeLst/>
  <a:custClrLst>
    <a:custClr name="Audi Rot">
      <a:srgbClr val="BB0A30"/>
    </a:custClr>
    <a:custClr name="Gruen">
      <a:srgbClr val="CACE98"/>
    </a:custClr>
    <a:custClr name="Braun">
      <a:srgbClr val="715D49"/>
    </a:custClr>
    <a:custClr name="Violett">
      <a:srgbClr val="6C4859"/>
    </a:custClr>
    <a:custClr name="Dunkelblau">
      <a:srgbClr val="544C70"/>
    </a:custClr>
    <a:custClr name="Hellblau">
      <a:srgbClr val="6682A4"/>
    </a:custClr>
    <a:custClr name="Gelb">
      <a:srgbClr val="FFD671"/>
    </a:custClr>
    <a:custClr name="Audi Rot">
      <a:srgbClr val="BB0A30"/>
    </a:custClr>
    <a:custClr name="Ampelgelb">
      <a:srgbClr val="FFAA00"/>
    </a:custClr>
    <a:custClr name="Ampelgruen">
      <a:srgbClr val="009900"/>
    </a:custClr>
    <a:custClr name="Aluminium Silber">
      <a:srgbClr val="B3B3B3"/>
    </a:custClr>
    <a:custClr name="Warmes Silber">
      <a:srgbClr val="B6B1A9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Audi_PPT_Vorlage_DE_Update_10112020" id="{D4DEB4DE-A1FD-0A4B-AFB6-1D8BB9123F50}" vid="{DDE88C1C-D19E-8849-89AC-8655A8ACA100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0BD975853276E4BA71D991708208EE8" ma:contentTypeVersion="26" ma:contentTypeDescription="Ein neues Dokument erstellen." ma:contentTypeScope="" ma:versionID="0a409b75f0ecc66f1ed2cdacdca3b80c">
  <xsd:schema xmlns:xsd="http://www.w3.org/2001/XMLSchema" xmlns:xs="http://www.w3.org/2001/XMLSchema" xmlns:p="http://schemas.microsoft.com/office/2006/metadata/properties" xmlns:ns1="http://schemas.microsoft.com/sharepoint/v3" xmlns:ns2="d34651fa-4992-47cc-97db-7cae5bfe655f" xmlns:ns3="a833a306-4efc-4b4b-b13e-d1ea70115e2b" targetNamespace="http://schemas.microsoft.com/office/2006/metadata/properties" ma:root="true" ma:fieldsID="21274da9564403cab6a26c51a0011c76" ns1:_="" ns2:_="" ns3:_="">
    <xsd:import namespace="http://schemas.microsoft.com/sharepoint/v3"/>
    <xsd:import namespace="d34651fa-4992-47cc-97db-7cae5bfe655f"/>
    <xsd:import namespace="a833a306-4efc-4b4b-b13e-d1ea70115e2b"/>
    <xsd:element name="properties">
      <xsd:complexType>
        <xsd:sequence>
          <xsd:element name="documentManagement">
            <xsd:complexType>
              <xsd:all>
                <xsd:element ref="ns2:m383b37b6e37420fa48b8635356e1af0" minOccurs="0"/>
                <xsd:element ref="ns2:TaxCatchAll" minOccurs="0"/>
                <xsd:element ref="ns2:TaxCatchAllLabel" minOccurs="0"/>
                <xsd:element ref="ns2:i0f84bba906045b4af568ee102a52dcb" minOccurs="0"/>
                <xsd:element ref="ns2:RevIMDeletionDate" minOccurs="0"/>
                <xsd:element ref="ns2:RevIMEventDate" minOccurs="0"/>
                <xsd:element ref="ns2:RevIMComments" minOccurs="0"/>
                <xsd:element ref="ns2:RevIMDocumentOwner" minOccurs="0"/>
                <xsd:element ref="ns2:RevIMExtend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Location" minOccurs="0"/>
                <xsd:element ref="ns2:SharedWithUsers" minOccurs="0"/>
                <xsd:element ref="ns2:SharedWithDetails" minOccurs="0"/>
                <xsd:element ref="ns3:lcf76f155ced4ddcb4097134ff3c332f" minOccurs="0"/>
                <xsd:element ref="ns3:MediaServiceObjectDetectorVersions" minOccurs="0"/>
                <xsd:element ref="ns1:_ip_UnifiedCompliancePolicyProperties" minOccurs="0"/>
                <xsd:element ref="ns1:_ip_UnifiedCompliancePolicyUIActio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34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35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4651fa-4992-47cc-97db-7cae5bfe655f" elementFormDefault="qualified">
    <xsd:import namespace="http://schemas.microsoft.com/office/2006/documentManagement/types"/>
    <xsd:import namespace="http://schemas.microsoft.com/office/infopath/2007/PartnerControls"/>
    <xsd:element name="m383b37b6e37420fa48b8635356e1af0" ma:index="8" nillable="true" ma:taxonomy="true" ma:internalName="m383b37b6e37420fa48b8635356e1af0" ma:taxonomyFieldName="LegalHoldTag" ma:displayName="LegalHold" ma:fieldId="{6383b37b-6e37-420f-a48b-8635356e1af0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8a31242a-73ed-4783-b150-922739144bd9}" ma:internalName="TaxCatchAll" ma:showField="CatchAllData" ma:web="d34651fa-4992-47cc-97db-7cae5bfe65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8a31242a-73ed-4783-b150-922739144bd9}" ma:internalName="TaxCatchAllLabel" ma:readOnly="true" ma:showField="CatchAllDataLabel" ma:web="d34651fa-4992-47cc-97db-7cae5bfe65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3" nillable="true" ma:taxonomy="true" ma:internalName="i0f84bba906045b4af568ee102a52dcb" ma:taxonomyFieldName="RevIMBCS" ma:displayName="CSD Class" ma:readOnly="true" ma:default="1;#0.1 Initial category|0239cc7a-0c96-48a8-9e0e-a383e362571c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4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5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6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7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18" nillable="true" ma:displayName="RevIMExtends" ma:hidden="true" ma:internalName="RevIMExtends" ma:readOnly="true">
      <xsd:simpleType>
        <xsd:restriction base="dms:Note"/>
      </xsd:simpleType>
    </xsd:element>
    <xsd:element name="SharedWithUsers" ma:index="2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33a306-4efc-4b4b-b13e-d1ea70115e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32" nillable="true" ma:taxonomy="true" ma:internalName="lcf76f155ced4ddcb4097134ff3c332f" ma:taxonomyFieldName="MediaServiceImageTags" ma:displayName="Bildmarkierungen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3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RevIMComments xmlns="d34651fa-4992-47cc-97db-7cae5bfe655f" xsi:nil="true"/>
    <RevIMDeletionDate xmlns="d34651fa-4992-47cc-97db-7cae5bfe655f">2028-04-18T08:27:06+00:00</RevIMDeletionDate>
    <TaxCatchAll xmlns="d34651fa-4992-47cc-97db-7cae5bfe655f">
      <Value>2</Value>
    </TaxCatchAll>
    <lcf76f155ced4ddcb4097134ff3c332f xmlns="a833a306-4efc-4b4b-b13e-d1ea70115e2b">
      <Terms xmlns="http://schemas.microsoft.com/office/infopath/2007/PartnerControls"/>
    </lcf76f155ced4ddcb4097134ff3c332f>
    <RevIMExtends xmlns="d34651fa-4992-47cc-97db-7cae5bfe655f">{"Locked":null,"LockedBy":null,"UnLocked":null,"UnLockedBy":null,"Classified":"2024-04-18T08:27:51.043Z","KSUClass":"5815ef7b-d718-4687-845c-1f016238fb1d","Reclassified":null,"ReclassifiedBy":null,"EDReclassified":null,"EDReclassifiedBy":null,"EventCreated":null,"EventModified":null,"EventDeleted":null,"EventCreatedBy":null,"EventModifiedBy":null,"EventDeletedBy":null,"Moved":null,"MovedBy":null,"MovedFrom":null}</RevIMExtends>
    <i0f84bba906045b4af568ee102a52dcb xmlns="d34651fa-4992-47cc-97db-7cae5bfe655f">
      <Terms xmlns="http://schemas.microsoft.com/office/infopath/2007/PartnerControls">
        <TermInfo xmlns="http://schemas.microsoft.com/office/infopath/2007/PartnerControls">
          <TermName xmlns="http://schemas.microsoft.com/office/infopath/2007/PartnerControls">0.2 Working documents</TermName>
          <TermId xmlns="http://schemas.microsoft.com/office/infopath/2007/PartnerControls">5815ef7b-d718-4687-845c-1f016238fb1d</TermId>
        </TermInfo>
      </Terms>
    </i0f84bba906045b4af568ee102a52dcb>
    <RevIMEventDate xmlns="d34651fa-4992-47cc-97db-7cae5bfe655f" xsi:nil="true"/>
    <RevIMDocumentOwner xmlns="d34651fa-4992-47cc-97db-7cae5bfe655f">
      <UserInfo>
        <DisplayName/>
        <AccountId xsi:nil="true"/>
        <AccountType/>
      </UserInfo>
    </RevIMDocumentOwner>
    <m383b37b6e37420fa48b8635356e1af0 xmlns="d34651fa-4992-47cc-97db-7cae5bfe655f">
      <Terms xmlns="http://schemas.microsoft.com/office/infopath/2007/PartnerControls"/>
    </m383b37b6e37420fa48b8635356e1af0>
  </documentManagement>
</p:properties>
</file>

<file path=customXml/itemProps1.xml><?xml version="1.0" encoding="utf-8"?>
<ds:datastoreItem xmlns:ds="http://schemas.openxmlformats.org/officeDocument/2006/customXml" ds:itemID="{ADE53ACB-04CF-4C0D-81D6-5E7C772AF8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3A4DC5-BA14-4FDB-AFC3-BB8B32DADB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34651fa-4992-47cc-97db-7cae5bfe655f"/>
    <ds:schemaRef ds:uri="a833a306-4efc-4b4b-b13e-d1ea70115e2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8E59E51-DC23-470C-A773-43F716EF15A6}">
  <ds:schemaRefs>
    <ds:schemaRef ds:uri="http://schemas.microsoft.com/office/2006/metadata/properties"/>
    <ds:schemaRef ds:uri="http://schemas.microsoft.com/office/infopath/2007/PartnerControls"/>
    <ds:schemaRef ds:uri="4e1baf8b-42c7-46c2-8149-f9319fca7ac9"/>
    <ds:schemaRef ds:uri="a7f3d158-9d0e-456e-9e06-749eeb34c5a9"/>
    <ds:schemaRef ds:uri="http://schemas.microsoft.com/sharepoint/v3"/>
    <ds:schemaRef ds:uri="d34651fa-4992-47cc-97db-7cae5bfe655f"/>
    <ds:schemaRef ds:uri="a833a306-4efc-4b4b-b13e-d1ea70115e2b"/>
  </ds:schemaRefs>
</ds:datastoreItem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UDIAG_02_Vorlage_16x9_DE</Template>
  <TotalTime>0</TotalTime>
  <Words>1169</Words>
  <Application>Microsoft Office PowerPoint</Application>
  <PresentationFormat>Breitbild</PresentationFormat>
  <Paragraphs>99</Paragraphs>
  <Slides>10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0</vt:i4>
      </vt:variant>
    </vt:vector>
  </HeadingPairs>
  <TitlesOfParts>
    <vt:vector size="18" baseType="lpstr">
      <vt:lpstr>Arial</vt:lpstr>
      <vt:lpstr>Audi Type</vt:lpstr>
      <vt:lpstr>Audi Type Extended</vt:lpstr>
      <vt:lpstr>Audi Type Extended Normal</vt:lpstr>
      <vt:lpstr>Audi Type Normal</vt:lpstr>
      <vt:lpstr>Audi VdT DE 16:9</vt:lpstr>
      <vt:lpstr>think-cell Folie</vt:lpstr>
      <vt:lpstr>think-cell Slide</vt:lpstr>
      <vt:lpstr>EDA Project – insights for Erin Robinson</vt:lpstr>
      <vt:lpstr>My Client : ERIN ROBINSON</vt:lpstr>
      <vt:lpstr>The used data </vt:lpstr>
      <vt:lpstr>QUESTION 1 - Are the areas of my interest concentrated, or spread all over Kings county? </vt:lpstr>
      <vt:lpstr>QUESTION 1 - Are the areas of my interest concentrated, or spread all over Kings county? Where are they? </vt:lpstr>
      <vt:lpstr>QUESTION 2 - Are there areas in poorer neighborhood that grow more than the average in Kings county?  </vt:lpstr>
      <vt:lpstr>QUESTION 3 - When are good times in the year to buy and sell a house?   </vt:lpstr>
      <vt:lpstr>QUESTION 4 - When looking only at the price, do I maybe miss something and still buy (relatively) expensive?  </vt:lpstr>
      <vt:lpstr>QUESTION 4 - When looking only at the price, do I maybe miss something and still buy (relatively) expensive?  </vt:lpstr>
      <vt:lpstr>Conclusions and further advice </vt:lpstr>
    </vt:vector>
  </TitlesOfParts>
  <Company>Volkswagen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inder, Johannes (I/FV-11)</dc:creator>
  <cp:lastModifiedBy>Andreas Greif</cp:lastModifiedBy>
  <cp:revision>183</cp:revision>
  <cp:lastPrinted>2020-02-11T16:18:25Z</cp:lastPrinted>
  <dcterms:created xsi:type="dcterms:W3CDTF">2023-05-08T06:31:31Z</dcterms:created>
  <dcterms:modified xsi:type="dcterms:W3CDTF">2025-10-15T14:1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1c9b508-7c6e-42bd-bedf-808292653d6c_Enabled">
    <vt:lpwstr>true</vt:lpwstr>
  </property>
  <property fmtid="{D5CDD505-2E9C-101B-9397-08002B2CF9AE}" pid="3" name="MSIP_Label_b1c9b508-7c6e-42bd-bedf-808292653d6c_SetDate">
    <vt:lpwstr>2023-05-08T06:31:37Z</vt:lpwstr>
  </property>
  <property fmtid="{D5CDD505-2E9C-101B-9397-08002B2CF9AE}" pid="4" name="MSIP_Label_b1c9b508-7c6e-42bd-bedf-808292653d6c_Method">
    <vt:lpwstr>Standard</vt:lpwstr>
  </property>
  <property fmtid="{D5CDD505-2E9C-101B-9397-08002B2CF9AE}" pid="5" name="MSIP_Label_b1c9b508-7c6e-42bd-bedf-808292653d6c_Name">
    <vt:lpwstr>b1c9b508-7c6e-42bd-bedf-808292653d6c</vt:lpwstr>
  </property>
  <property fmtid="{D5CDD505-2E9C-101B-9397-08002B2CF9AE}" pid="6" name="MSIP_Label_b1c9b508-7c6e-42bd-bedf-808292653d6c_SiteId">
    <vt:lpwstr>2882be50-2012-4d88-ac86-544124e120c8</vt:lpwstr>
  </property>
  <property fmtid="{D5CDD505-2E9C-101B-9397-08002B2CF9AE}" pid="7" name="MSIP_Label_b1c9b508-7c6e-42bd-bedf-808292653d6c_ActionId">
    <vt:lpwstr>601ae9f2-8396-4ff7-9529-e29db9ab9302</vt:lpwstr>
  </property>
  <property fmtid="{D5CDD505-2E9C-101B-9397-08002B2CF9AE}" pid="8" name="MSIP_Label_b1c9b508-7c6e-42bd-bedf-808292653d6c_ContentBits">
    <vt:lpwstr>3</vt:lpwstr>
  </property>
  <property fmtid="{D5CDD505-2E9C-101B-9397-08002B2CF9AE}" pid="9" name="MediaServiceImageTags">
    <vt:lpwstr/>
  </property>
  <property fmtid="{D5CDD505-2E9C-101B-9397-08002B2CF9AE}" pid="10" name="ContentTypeId">
    <vt:lpwstr>0x01010010BD975853276E4BA71D991708208EE8</vt:lpwstr>
  </property>
  <property fmtid="{D5CDD505-2E9C-101B-9397-08002B2CF9AE}" pid="11" name="RevIMBCS">
    <vt:lpwstr>2;#0.2 Working documents|5815ef7b-d718-4687-845c-1f016238fb1d</vt:lpwstr>
  </property>
  <property fmtid="{D5CDD505-2E9C-101B-9397-08002B2CF9AE}" pid="12" name="LegalHoldTag">
    <vt:lpwstr/>
  </property>
</Properties>
</file>